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41" r:id="rId5"/>
  </p:sldMasterIdLst>
  <p:notesMasterIdLst>
    <p:notesMasterId r:id="rId12"/>
  </p:notesMasterIdLst>
  <p:handoutMasterIdLst>
    <p:handoutMasterId r:id="rId13"/>
  </p:handoutMasterIdLst>
  <p:sldIdLst>
    <p:sldId id="3406" r:id="rId6"/>
    <p:sldId id="3407" r:id="rId7"/>
    <p:sldId id="3409" r:id="rId8"/>
    <p:sldId id="3411" r:id="rId9"/>
    <p:sldId id="3408" r:id="rId10"/>
    <p:sldId id="3410" r:id="rId11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87997AE-6024-4114-B9C6-C5C40035DFE5}">
          <p14:sldIdLst>
            <p14:sldId id="3406"/>
            <p14:sldId id="3407"/>
            <p14:sldId id="3409"/>
            <p14:sldId id="3411"/>
            <p14:sldId id="3408"/>
            <p14:sldId id="341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614" userDrawn="1">
          <p15:clr>
            <a:srgbClr val="A4A3A4"/>
          </p15:clr>
        </p15:guide>
        <p15:guide id="2" pos="214" userDrawn="1">
          <p15:clr>
            <a:srgbClr val="A4A3A4"/>
          </p15:clr>
        </p15:guide>
        <p15:guide id="3" pos="924" userDrawn="1">
          <p15:clr>
            <a:srgbClr val="A4A3A4"/>
          </p15:clr>
        </p15:guide>
        <p15:guide id="5" pos="1860" userDrawn="1">
          <p15:clr>
            <a:srgbClr val="A4A3A4"/>
          </p15:clr>
        </p15:guide>
        <p15:guide id="6" pos="2086" userDrawn="1">
          <p15:clr>
            <a:srgbClr val="A4A3A4"/>
          </p15:clr>
        </p15:guide>
        <p15:guide id="7" pos="2794" userDrawn="1">
          <p15:clr>
            <a:srgbClr val="A4A3A4"/>
          </p15:clr>
        </p15:guide>
        <p15:guide id="8" pos="3021" userDrawn="1">
          <p15:clr>
            <a:srgbClr val="A4A3A4"/>
          </p15:clr>
        </p15:guide>
        <p15:guide id="9" pos="3729" userDrawn="1">
          <p15:clr>
            <a:srgbClr val="A4A3A4"/>
          </p15:clr>
        </p15:guide>
        <p15:guide id="10" pos="3953" userDrawn="1">
          <p15:clr>
            <a:srgbClr val="A4A3A4"/>
          </p15:clr>
        </p15:guide>
        <p15:guide id="11" pos="4662" userDrawn="1">
          <p15:clr>
            <a:srgbClr val="A4A3A4"/>
          </p15:clr>
        </p15:guide>
        <p15:guide id="12" pos="4887" userDrawn="1">
          <p15:clr>
            <a:srgbClr val="A4A3A4"/>
          </p15:clr>
        </p15:guide>
        <p15:guide id="13" pos="5596" userDrawn="1">
          <p15:clr>
            <a:srgbClr val="A4A3A4"/>
          </p15:clr>
        </p15:guide>
        <p15:guide id="14" pos="5822" userDrawn="1">
          <p15:clr>
            <a:srgbClr val="A4A3A4"/>
          </p15:clr>
        </p15:guide>
        <p15:guide id="15" pos="6531" userDrawn="1">
          <p15:clr>
            <a:srgbClr val="A4A3A4"/>
          </p15:clr>
        </p15:guide>
        <p15:guide id="16" pos="6760" userDrawn="1">
          <p15:clr>
            <a:srgbClr val="A4A3A4"/>
          </p15:clr>
        </p15:guide>
        <p15:guide id="17" orient="horz" pos="3815" userDrawn="1">
          <p15:clr>
            <a:srgbClr val="A4A3A4"/>
          </p15:clr>
        </p15:guide>
        <p15:guide id="18" orient="horz" pos="3226" userDrawn="1">
          <p15:clr>
            <a:srgbClr val="A4A3A4"/>
          </p15:clr>
        </p15:guide>
        <p15:guide id="19" orient="horz" pos="1360" userDrawn="1">
          <p15:clr>
            <a:srgbClr val="A4A3A4"/>
          </p15:clr>
        </p15:guide>
        <p15:guide id="20" orient="horz" pos="1094" userDrawn="1">
          <p15:clr>
            <a:srgbClr val="A4A3A4"/>
          </p15:clr>
        </p15:guide>
        <p15:guide id="21" orient="horz" pos="210" userDrawn="1">
          <p15:clr>
            <a:srgbClr val="A4A3A4"/>
          </p15:clr>
        </p15:guide>
        <p15:guide id="22" pos="74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20085"/>
    <a:srgbClr val="EFEFEF"/>
    <a:srgbClr val="E8E8E8"/>
    <a:srgbClr val="6300A0"/>
    <a:srgbClr val="5C0095"/>
    <a:srgbClr val="61009D"/>
    <a:srgbClr val="6D00B0"/>
    <a:srgbClr val="7A00C4"/>
    <a:srgbClr val="8C00DF"/>
    <a:srgbClr val="8100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3429" autoAdjust="0"/>
  </p:normalViewPr>
  <p:slideViewPr>
    <p:cSldViewPr snapToGrid="0">
      <p:cViewPr varScale="1">
        <p:scale>
          <a:sx n="52" d="100"/>
          <a:sy n="52" d="100"/>
        </p:scale>
        <p:origin x="1204" y="48"/>
      </p:cViewPr>
      <p:guideLst>
        <p:guide orient="horz" pos="2614"/>
        <p:guide pos="214"/>
        <p:guide pos="924"/>
        <p:guide pos="1860"/>
        <p:guide pos="2086"/>
        <p:guide pos="2794"/>
        <p:guide pos="3021"/>
        <p:guide pos="3729"/>
        <p:guide pos="3953"/>
        <p:guide pos="4662"/>
        <p:guide pos="4887"/>
        <p:guide pos="5596"/>
        <p:guide pos="5822"/>
        <p:guide pos="6531"/>
        <p:guide pos="6760"/>
        <p:guide orient="horz" pos="3815"/>
        <p:guide orient="horz" pos="3226"/>
        <p:guide orient="horz" pos="1360"/>
        <p:guide orient="horz" pos="1094"/>
        <p:guide orient="horz" pos="210"/>
        <p:guide pos="746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971ECDF-C88C-402C-A50E-970766D2F21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38DA6F-81E9-4AEA-A33C-AD7361943EB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7C3BFC-EDC3-4922-A8B0-FD05E8EE103D}" type="datetimeFigureOut">
              <a:rPr lang="en-US" smtClean="0"/>
              <a:t>12-Oct-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1CBE42-5FF4-4A7A-930D-96160F8B766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3BB6A6-F950-4281-AECD-5773352F29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14DB0C-4647-4989-B449-5CD28B5500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6287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CA7311-5089-42A8-B509-E218BE2C37D6}" type="datetimeFigureOut">
              <a:rPr lang="en-AU" smtClean="0"/>
              <a:t>12/10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68C3E4-BB69-49BE-B539-35B3A4531F3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20886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2657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3597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273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12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12" Type="http://schemas.openxmlformats.org/officeDocument/2006/relationships/image" Target="../media/image9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12" Type="http://schemas.openxmlformats.org/officeDocument/2006/relationships/image" Target="../media/image9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12" Type="http://schemas.openxmlformats.org/officeDocument/2006/relationships/image" Target="../media/image9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0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11" Type="http://schemas.openxmlformats.org/officeDocument/2006/relationships/image" Target="../media/image9.png"/><Relationship Id="rId5" Type="http://schemas.openxmlformats.org/officeDocument/2006/relationships/image" Target="../media/image4.png"/><Relationship Id="rId10" Type="http://schemas.openxmlformats.org/officeDocument/2006/relationships/image" Target="../media/image8.png"/><Relationship Id="rId4" Type="http://schemas.openxmlformats.org/officeDocument/2006/relationships/image" Target="../media/image3.png"/><Relationship Id="rId9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A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304" name="Acc_CoreBrand_Logo_Black_Purple" hidden="1">
            <a:extLst>
              <a:ext uri="{FF2B5EF4-FFF2-40B4-BE49-F238E27FC236}">
                <a16:creationId xmlns:a16="http://schemas.microsoft.com/office/drawing/2014/main" id="{079A257B-549F-4450-95A9-7265440209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8"/>
          </a:xfrm>
          <a:prstGeom prst="rect">
            <a:avLst/>
          </a:prstGeom>
        </p:spPr>
      </p:pic>
      <p:pic>
        <p:nvPicPr>
          <p:cNvPr id="16" name="Acc_Applied_Intell_Wordmark_BLK Colour Positive">
            <a:extLst>
              <a:ext uri="{FF2B5EF4-FFF2-40B4-BE49-F238E27FC236}">
                <a16:creationId xmlns:a16="http://schemas.microsoft.com/office/drawing/2014/main" id="{DD70FCEB-3987-4187-BBE9-1EC58B70EF7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  <p:sp>
        <p:nvSpPr>
          <p:cNvPr id="18" name="Subtitle (3rd Level)">
            <a:extLst>
              <a:ext uri="{FF2B5EF4-FFF2-40B4-BE49-F238E27FC236}">
                <a16:creationId xmlns:a16="http://schemas.microsoft.com/office/drawing/2014/main" id="{0C2B81EA-135C-422A-98D3-161C6DFFBD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19" name="Long Subline">
            <a:extLst>
              <a:ext uri="{FF2B5EF4-FFF2-40B4-BE49-F238E27FC236}">
                <a16:creationId xmlns:a16="http://schemas.microsoft.com/office/drawing/2014/main" id="{C96C47DE-A3E5-48FF-AB1F-A97B04A58D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0" name="MasterTitle">
            <a:extLst>
              <a:ext uri="{FF2B5EF4-FFF2-40B4-BE49-F238E27FC236}">
                <a16:creationId xmlns:a16="http://schemas.microsoft.com/office/drawing/2014/main" id="{6AD8816D-567D-40E6-AC54-73465BA32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495767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563350F7-5E63-45BF-8423-F57E0D39B7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Acc_CoreBrand_GTS_Dimensional">
            <a:extLst>
              <a:ext uri="{FF2B5EF4-FFF2-40B4-BE49-F238E27FC236}">
                <a16:creationId xmlns:a16="http://schemas.microsoft.com/office/drawing/2014/main" id="{6D756CC3-029E-472F-AC23-D51DC23EC2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5617" y="1314602"/>
            <a:ext cx="4320000" cy="4536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23" name="Acc_CoreBrand_Logo_Black_Purple">
            <a:extLst>
              <a:ext uri="{FF2B5EF4-FFF2-40B4-BE49-F238E27FC236}">
                <a16:creationId xmlns:a16="http://schemas.microsoft.com/office/drawing/2014/main" id="{D56A5758-29D6-42E8-9CB0-15C7D8CB4940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  <p:sp>
        <p:nvSpPr>
          <p:cNvPr id="24" name="Subtitle (3rd Level)">
            <a:extLst>
              <a:ext uri="{FF2B5EF4-FFF2-40B4-BE49-F238E27FC236}">
                <a16:creationId xmlns:a16="http://schemas.microsoft.com/office/drawing/2014/main" id="{095F0944-0665-4C17-BBEF-DED40EFAC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5" name="Long Subline">
            <a:extLst>
              <a:ext uri="{FF2B5EF4-FFF2-40B4-BE49-F238E27FC236}">
                <a16:creationId xmlns:a16="http://schemas.microsoft.com/office/drawing/2014/main" id="{BAC62BB1-F773-4EB6-A238-C8AD19AB8B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6" name="MasterTitle">
            <a:extLst>
              <a:ext uri="{FF2B5EF4-FFF2-40B4-BE49-F238E27FC236}">
                <a16:creationId xmlns:a16="http://schemas.microsoft.com/office/drawing/2014/main" id="{D0F89EBC-3A05-4F5D-ACFF-DFD310BFFA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47669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1">
            <a:extLst>
              <a:ext uri="{FF2B5EF4-FFF2-40B4-BE49-F238E27FC236}">
                <a16:creationId xmlns:a16="http://schemas.microsoft.com/office/drawing/2014/main" id="{611932B1-C403-4387-981B-A7370F044F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" r="91"/>
          <a:stretch>
            <a:fillRect/>
          </a:stretch>
        </p:blipFill>
        <p:spPr>
          <a:xfrm>
            <a:off x="0" y="0"/>
            <a:ext cx="12192000" cy="6873875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sp>
        <p:nvSpPr>
          <p:cNvPr id="112" name="Subtitle (3rd Level)">
            <a:extLst>
              <a:ext uri="{FF2B5EF4-FFF2-40B4-BE49-F238E27FC236}">
                <a16:creationId xmlns:a16="http://schemas.microsoft.com/office/drawing/2014/main" id="{3F9DD137-2F42-4FAF-8466-7516363C9E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6" name="Long Subline"/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8" name="MasterTitle"/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8" name="Acc_CoreBrand_Logo_Black_Purple">
            <a:extLst>
              <a:ext uri="{FF2B5EF4-FFF2-40B4-BE49-F238E27FC236}">
                <a16:creationId xmlns:a16="http://schemas.microsoft.com/office/drawing/2014/main" id="{FDE60845-E0C2-4D6C-A02B-571BC30D12FB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660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8AE4E75A-A032-4E5F-AC57-D892E71E1A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sp>
        <p:nvSpPr>
          <p:cNvPr id="112" name="Subtitle (3rd Level)">
            <a:extLst>
              <a:ext uri="{FF2B5EF4-FFF2-40B4-BE49-F238E27FC236}">
                <a16:creationId xmlns:a16="http://schemas.microsoft.com/office/drawing/2014/main" id="{3F9DD137-2F42-4FAF-8466-7516363C9E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6" name="Long Subline"/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8" name="MasterTitle"/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8" name="Acc_CoreBrand_Logo_Black_Purple">
            <a:extLst>
              <a:ext uri="{FF2B5EF4-FFF2-40B4-BE49-F238E27FC236}">
                <a16:creationId xmlns:a16="http://schemas.microsoft.com/office/drawing/2014/main" id="{FDE60845-E0C2-4D6C-A02B-571BC30D12FB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979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59907F4C-E8F1-4AC4-BBAC-90D350BCBB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8" t="-21" r="4418" b="8857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21" name="Acc_CoreBrand_Logo_Black_Purple">
            <a:extLst>
              <a:ext uri="{FF2B5EF4-FFF2-40B4-BE49-F238E27FC236}">
                <a16:creationId xmlns:a16="http://schemas.microsoft.com/office/drawing/2014/main" id="{54C0A1D6-C126-4A52-92AA-06BE02D9645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  <p:sp>
        <p:nvSpPr>
          <p:cNvPr id="22" name="Subtitle (3rd Level)">
            <a:extLst>
              <a:ext uri="{FF2B5EF4-FFF2-40B4-BE49-F238E27FC236}">
                <a16:creationId xmlns:a16="http://schemas.microsoft.com/office/drawing/2014/main" id="{174AE999-F1DB-40E6-8CF7-DADC702AEA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8" name="Long Subline">
            <a:extLst>
              <a:ext uri="{FF2B5EF4-FFF2-40B4-BE49-F238E27FC236}">
                <a16:creationId xmlns:a16="http://schemas.microsoft.com/office/drawing/2014/main" id="{C09CB717-4F63-4A30-AC66-6BF761517E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9" name="MasterTitle">
            <a:extLst>
              <a:ext uri="{FF2B5EF4-FFF2-40B4-BE49-F238E27FC236}">
                <a16:creationId xmlns:a16="http://schemas.microsoft.com/office/drawing/2014/main" id="{81AC0F20-4EE0-4125-9A83-F20F519EB5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80609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0E3617E0-BE4C-4CCD-90AE-14FACF51E3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1" b="61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17" name="Acc_CoreBrand_Logo_Black_Purple">
            <a:extLst>
              <a:ext uri="{FF2B5EF4-FFF2-40B4-BE49-F238E27FC236}">
                <a16:creationId xmlns:a16="http://schemas.microsoft.com/office/drawing/2014/main" id="{2BA4DE44-31BD-4354-90CD-B6EACBAA310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  <p:sp>
        <p:nvSpPr>
          <p:cNvPr id="18" name="Subtitle (3rd Level)">
            <a:extLst>
              <a:ext uri="{FF2B5EF4-FFF2-40B4-BE49-F238E27FC236}">
                <a16:creationId xmlns:a16="http://schemas.microsoft.com/office/drawing/2014/main" id="{476D8465-7DD7-4B74-81AB-73CA97FF0D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19" name="Long Subline">
            <a:extLst>
              <a:ext uri="{FF2B5EF4-FFF2-40B4-BE49-F238E27FC236}">
                <a16:creationId xmlns:a16="http://schemas.microsoft.com/office/drawing/2014/main" id="{9612428B-ACFA-48D2-B442-06234502CE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0" name="MasterTitle">
            <a:extLst>
              <a:ext uri="{FF2B5EF4-FFF2-40B4-BE49-F238E27FC236}">
                <a16:creationId xmlns:a16="http://schemas.microsoft.com/office/drawing/2014/main" id="{C8511633-244A-439D-942C-FC909E568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26633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_White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BB009F6-6D3C-461F-8FF5-717D52FC01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4" t="4799" r="1319" b="479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" name="Text Placeholder 101"/>
          <p:cNvSpPr>
            <a:spLocks noGrp="1"/>
          </p:cNvSpPr>
          <p:nvPr>
            <p:ph type="body" sz="quarter" idx="21" hasCustomPrompt="1"/>
          </p:nvPr>
        </p:nvSpPr>
        <p:spPr>
          <a:xfrm>
            <a:off x="2963099" y="748886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03" name="Text Placeholder 101"/>
          <p:cNvSpPr>
            <a:spLocks noGrp="1"/>
          </p:cNvSpPr>
          <p:nvPr>
            <p:ph type="body" sz="quarter" idx="22" hasCustomPrompt="1"/>
          </p:nvPr>
        </p:nvSpPr>
        <p:spPr>
          <a:xfrm>
            <a:off x="339725" y="748886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05" name="Text Placeholder 101"/>
          <p:cNvSpPr>
            <a:spLocks noGrp="1"/>
          </p:cNvSpPr>
          <p:nvPr>
            <p:ph type="body" sz="quarter" idx="24" hasCustomPrompt="1"/>
          </p:nvPr>
        </p:nvSpPr>
        <p:spPr>
          <a:xfrm>
            <a:off x="2963099" y="2687578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06" name="Text Placeholder 101"/>
          <p:cNvSpPr>
            <a:spLocks noGrp="1"/>
          </p:cNvSpPr>
          <p:nvPr>
            <p:ph type="body" sz="quarter" idx="25" hasCustomPrompt="1"/>
          </p:nvPr>
        </p:nvSpPr>
        <p:spPr>
          <a:xfrm>
            <a:off x="339725" y="2687578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08" name="Text Placeholder 101"/>
          <p:cNvSpPr>
            <a:spLocks noGrp="1"/>
          </p:cNvSpPr>
          <p:nvPr>
            <p:ph type="body" sz="quarter" idx="27" hasCustomPrompt="1"/>
          </p:nvPr>
        </p:nvSpPr>
        <p:spPr>
          <a:xfrm>
            <a:off x="2963099" y="4555594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09" name="Text Placeholder 101"/>
          <p:cNvSpPr>
            <a:spLocks noGrp="1"/>
          </p:cNvSpPr>
          <p:nvPr>
            <p:ph type="body" sz="quarter" idx="28" hasCustomPrompt="1"/>
          </p:nvPr>
        </p:nvSpPr>
        <p:spPr>
          <a:xfrm>
            <a:off x="339725" y="4555594"/>
            <a:ext cx="1326081" cy="842767"/>
          </a:xfrm>
          <a:prstGeom prst="rect">
            <a:avLst/>
          </a:prstGeom>
        </p:spPr>
        <p:txBody>
          <a:bodyPr anchor="b"/>
          <a:lstStyle>
            <a:lvl1pPr>
              <a:defRPr sz="5399" b="0">
                <a:solidFill>
                  <a:schemeClr val="accent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68EAD7D0-1893-4120-AF31-1B3287523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21924" y="6403067"/>
            <a:ext cx="4114800" cy="140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AU"/>
              <a:t>Copyright © 2019 Accenture. All rights reserved.</a:t>
            </a:r>
            <a:endParaRPr lang="en-GB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32F7485-E25E-4A08-AC2C-A7EEA0094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5943" y="6403067"/>
            <a:ext cx="216000" cy="140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fld id="{EF2F7A32-C1EA-4F7E-B0A2-7FCB5BFE90DE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CCFC03F1-B3A6-4E48-8328-74C70D262C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725" y="1598003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25" name="Text Placeholder 71">
            <a:extLst>
              <a:ext uri="{FF2B5EF4-FFF2-40B4-BE49-F238E27FC236}">
                <a16:creationId xmlns:a16="http://schemas.microsoft.com/office/drawing/2014/main" id="{B19CC50C-BF00-41CD-BF2B-6F83CF5899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63099" y="1598003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F485D4D0-0E2C-44E3-9D51-0217B4F2C6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725" y="3516106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28" name="Text Placeholder 71">
            <a:extLst>
              <a:ext uri="{FF2B5EF4-FFF2-40B4-BE49-F238E27FC236}">
                <a16:creationId xmlns:a16="http://schemas.microsoft.com/office/drawing/2014/main" id="{4157D535-70E8-4EDA-8687-2721C3D558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63099" y="3516106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1817C3BD-92B7-432E-8F98-DF8F476741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25" y="5394417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31" name="Text Placeholder 71">
            <a:extLst>
              <a:ext uri="{FF2B5EF4-FFF2-40B4-BE49-F238E27FC236}">
                <a16:creationId xmlns:a16="http://schemas.microsoft.com/office/drawing/2014/main" id="{4C7EDDEE-4AE1-4026-B5E4-9B0F2F64D0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963099" y="5394417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</p:spTree>
    <p:extLst>
      <p:ext uri="{BB962C8B-B14F-4D97-AF65-F5344CB8AC3E}">
        <p14:creationId xmlns:p14="http://schemas.microsoft.com/office/powerpoint/2010/main" val="21271739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7C10AFE-A1A0-400E-B25F-A15F6675A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141" y="1766967"/>
            <a:ext cx="5612647" cy="4294186"/>
          </a:xfr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rPr lang="en-US"/>
              <a:t>Section introduction</a:t>
            </a:r>
            <a:endParaRPr lang="en-AU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0559EC6-F01B-4C86-A1C8-557EA86C55F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80FAD5C-7BC9-4C47-97C3-661207BE93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BBA1B5-C077-429B-B8B5-3E4D80450C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7" y="1766888"/>
            <a:ext cx="5578475" cy="4289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749711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95451-F220-48C0-ABA6-325978033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4A781BB-DF12-4785-A348-CED0C76100E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8CCCE24-5684-4A9B-869B-EDB0A3D439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CF415F-3689-45B9-9B4F-EC0507DDDA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400" y="1768475"/>
            <a:ext cx="10028237" cy="4287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06712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2F61C189-E88E-47C6-9590-4DDA84807E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276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49E900-8799-4058-88B6-4D0B109303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023A2D1-C65D-4EC3-9138-FA2EC64531F9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ECFDA50-AE1C-445B-B89C-211D9B440584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3F98DC-635B-4F7B-9683-E77B24BCA3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8400" y="1768475"/>
            <a:ext cx="10040938" cy="4287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720150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10234C-451D-4E7A-978E-9149C22956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8400" y="1767600"/>
            <a:ext cx="558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913FF3-5E8B-41AA-94A1-F4AA28FA51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6975" y="1767600"/>
            <a:ext cx="5580000" cy="4316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719E76-BEDC-463C-9517-95BA815CD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BF4C524-AF94-4A80-8063-8388F54DC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492DDDE-BB5A-4195-9F3F-CE3CFFE165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165670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_A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" name="Acc_Digital_GTS_Dimensional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5617" y="1325500"/>
            <a:ext cx="4309621" cy="4525102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304" name="Acc_CoreBrand_Logo_Black_Purple" hidden="1">
            <a:extLst>
              <a:ext uri="{FF2B5EF4-FFF2-40B4-BE49-F238E27FC236}">
                <a16:creationId xmlns:a16="http://schemas.microsoft.com/office/drawing/2014/main" id="{079A257B-549F-4450-95A9-7265440209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8"/>
          </a:xfrm>
          <a:prstGeom prst="rect">
            <a:avLst/>
          </a:prstGeom>
        </p:spPr>
      </p:pic>
      <p:pic>
        <p:nvPicPr>
          <p:cNvPr id="16" name="Acc_Applied_Intell_Wordmark_BLK Colour Positive">
            <a:extLst>
              <a:ext uri="{FF2B5EF4-FFF2-40B4-BE49-F238E27FC236}">
                <a16:creationId xmlns:a16="http://schemas.microsoft.com/office/drawing/2014/main" id="{DD70FCEB-3987-4187-BBE9-1EC58B70EF7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  <p:sp>
        <p:nvSpPr>
          <p:cNvPr id="18" name="Subtitle (3rd Level)">
            <a:extLst>
              <a:ext uri="{FF2B5EF4-FFF2-40B4-BE49-F238E27FC236}">
                <a16:creationId xmlns:a16="http://schemas.microsoft.com/office/drawing/2014/main" id="{0C2B81EA-135C-422A-98D3-161C6DFFBD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19" name="Long Subline">
            <a:extLst>
              <a:ext uri="{FF2B5EF4-FFF2-40B4-BE49-F238E27FC236}">
                <a16:creationId xmlns:a16="http://schemas.microsoft.com/office/drawing/2014/main" id="{C96C47DE-A3E5-48FF-AB1F-A97B04A58D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0" name="MasterTitle">
            <a:extLst>
              <a:ext uri="{FF2B5EF4-FFF2-40B4-BE49-F238E27FC236}">
                <a16:creationId xmlns:a16="http://schemas.microsoft.com/office/drawing/2014/main" id="{6AD8816D-567D-40E6-AC54-73465BA32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48114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4C416D66-6B95-48F7-9FB0-B95BAD09C3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3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591809-FBD2-4002-800C-B479F8DF6C2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8400" y="1768475"/>
            <a:ext cx="558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01527E2-5E08-409E-A34A-135B8A194FB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76975" y="1768475"/>
            <a:ext cx="558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F3894F-D32A-461A-8F9F-91F1FA677E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662AF41-A6DE-440F-A16E-393495629E00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22822F4-B8E6-4CF8-9758-6A830A2BDB49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634769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DF5F7E-7617-43D2-B152-68B0836A97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400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DA8E03-1102-4085-98C9-F9B61291BE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95206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51F0277-50C4-4538-A470-D7433428139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53863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378713-D495-46EE-AB11-18653C864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5E50A37-58B2-4C46-9EA5-96A8D4328EB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E76689C-307C-47E7-B47E-FC97081C34C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054599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71927D01-A3FF-4204-B5DF-4AE350A462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8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61336A-DB63-44D5-9F70-939E9EAA328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8400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02F35-EE56-4849-A21F-FE8FB47E07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295206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34A3A8E-78C1-429B-81CB-462EB30FE36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253863" y="1767600"/>
            <a:ext cx="360000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7E6781-E937-4452-AD98-B8390446E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A796FBB-EF97-413E-8F88-AFEB1B667072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6A87F1D-8649-4B7C-8B0E-FFBCD0846A80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195925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BCCC7A-68E4-4E03-92B9-2F16859B8F1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8400" y="1768474"/>
            <a:ext cx="2610000" cy="4290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1817992-8025-44C1-9430-783EF1712E9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05704" y="1768474"/>
            <a:ext cx="2610000" cy="4290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38640E-65FD-4FA0-9E03-7B0A3EF3DD9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74858" y="1768474"/>
            <a:ext cx="2610000" cy="4290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513F801-D534-4721-9EA9-2FC967CD43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44013" y="1768474"/>
            <a:ext cx="2610000" cy="4290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09D63F-1F3A-43D6-B8F8-DF18D19DD4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39AEBB-8BA2-4290-8748-3DCE393547C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940125-B1DC-4A1C-84EA-4B997D9AF69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491007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>
            <a:extLst>
              <a:ext uri="{FF2B5EF4-FFF2-40B4-BE49-F238E27FC236}">
                <a16:creationId xmlns:a16="http://schemas.microsoft.com/office/drawing/2014/main" id="{09EF6935-AFD7-46C0-B8DC-F4109159682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8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4F5BF-4E2E-4D86-B75C-35937637B61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8400" y="1768475"/>
            <a:ext cx="2610000" cy="42884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BBBC69B-9A11-44B1-A28B-C16CE648CAE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04646" y="1768475"/>
            <a:ext cx="2610000" cy="42884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7D24D54-FB3A-4E7C-A46D-CDA62FD434C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74329" y="1768475"/>
            <a:ext cx="2610000" cy="42884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2956896-6D0F-409C-B6B8-FF6CA16AFD1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44013" y="1768475"/>
            <a:ext cx="2610000" cy="42884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E71F09-8572-41E0-BD00-542A07734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B31E44-D141-421B-93F1-405254FA9264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03C39CA-D8D6-4334-8D3A-44E288D150F2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596437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A74989-BEF5-42BA-A4DD-05E4DC35E6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8400" y="1767600"/>
            <a:ext cx="409575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15866A6-5FB6-4879-B190-D941386C0FD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791075" y="1767600"/>
            <a:ext cx="7070725" cy="4292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1C9CC4-B2BA-4102-9EEB-D7E285B478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19D54EB-CADD-42A3-BBC1-D1CFE5934999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22603A8-8037-46E2-A571-F0BF43FF0FD3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522245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3AF63B48-9B81-462E-A24C-7037069CBAF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8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9FA043-6343-4D03-814F-5850BF226E9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8400" y="1767600"/>
            <a:ext cx="4095750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CD48AF5-9262-4894-95BB-043B9ECC4D65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791075" y="1767600"/>
            <a:ext cx="7070725" cy="429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F85D90-5D5F-4A12-B996-AA758A7B5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7DA509D-0406-4B0C-8BC4-705FCD33420F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FDAAB1-E37F-4D77-B44A-9C59D3AA4E52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819556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80826-A7D7-4F3F-ACE9-2F388BD09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AFF5546-AE35-4C7F-AF06-30931F8FFF1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F61DA7F-EC1D-415C-8A25-1CF5DBF4CF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768463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80826-A7D7-4F3F-ACE9-2F388BD09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AFF5546-AE35-4C7F-AF06-30931F8FFF1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 lang="en-AU"/>
              <a:t>Copyright © 2019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F61DA7F-EC1D-415C-8A25-1CF5DBF4CF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7D1D24C0-8A12-4E0D-89BF-B291CCDB091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8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39165336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4800" y="1030425"/>
            <a:ext cx="10027707" cy="453183"/>
          </a:xfrm>
          <a:prstGeom prst="rect">
            <a:avLst/>
          </a:prstGeom>
        </p:spPr>
        <p:txBody>
          <a:bodyPr wrap="square" tIns="14400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E9E677-7C6B-462C-9193-311E902B7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D274E69-7B69-4385-946C-6FF0B68DB8B5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19E2DBE-8B18-4E2E-AE9F-7700CC37B66E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195224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F1856A7-D3D6-4451-90C3-DD82CB560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Acc_Digital_GTS_Dimensional">
            <a:extLst>
              <a:ext uri="{FF2B5EF4-FFF2-40B4-BE49-F238E27FC236}">
                <a16:creationId xmlns:a16="http://schemas.microsoft.com/office/drawing/2014/main" id="{93BD90F4-EA79-4EFE-AB2D-30060EE7DA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5617" y="1325500"/>
            <a:ext cx="4309621" cy="4525102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sp>
        <p:nvSpPr>
          <p:cNvPr id="23" name="Subtitle (3rd Level)">
            <a:extLst>
              <a:ext uri="{FF2B5EF4-FFF2-40B4-BE49-F238E27FC236}">
                <a16:creationId xmlns:a16="http://schemas.microsoft.com/office/drawing/2014/main" id="{03A58A35-020C-427D-B1BB-3AA03146F4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4" name="Long Subline">
            <a:extLst>
              <a:ext uri="{FF2B5EF4-FFF2-40B4-BE49-F238E27FC236}">
                <a16:creationId xmlns:a16="http://schemas.microsoft.com/office/drawing/2014/main" id="{D271ADC0-D732-47C5-893B-8A0669EEE6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5" name="MasterTitle">
            <a:extLst>
              <a:ext uri="{FF2B5EF4-FFF2-40B4-BE49-F238E27FC236}">
                <a16:creationId xmlns:a16="http://schemas.microsoft.com/office/drawing/2014/main" id="{71C42D6A-87CA-464F-86F2-1711BDDB50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6" name="Acc_Applied_Intell_Wordmark_BLK Colour Positive">
            <a:extLst>
              <a:ext uri="{FF2B5EF4-FFF2-40B4-BE49-F238E27FC236}">
                <a16:creationId xmlns:a16="http://schemas.microsoft.com/office/drawing/2014/main" id="{B1098182-5756-444F-9383-1459C58AA01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biLevel thresh="75000"/>
          </a:blip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070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C1DECF-4A5B-46E3-96BE-99BCA85D43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4E4A18-7598-494B-AD35-4B65735C10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634549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redentials with outcom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48FC084-018E-4E2A-A12F-D444FACD0D6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73274" y="4154849"/>
            <a:ext cx="2106857" cy="1901464"/>
          </a:xfrm>
          <a:solidFill>
            <a:schemeClr val="bg1">
              <a:lumMod val="95000"/>
            </a:schemeClr>
          </a:solidFill>
        </p:spPr>
        <p:txBody>
          <a:bodyPr wrap="square" lIns="108000" tIns="792000" rIns="108000" bIns="216000" rtlCol="0" anchor="t" anchorCtr="0">
            <a:noAutofit/>
          </a:bodyPr>
          <a:lstStyle>
            <a:lvl1pPr>
              <a:lnSpc>
                <a:spcPct val="100000"/>
              </a:lnSpc>
              <a:defRPr lang="en-US" sz="1400" b="0" dirty="0" smtClean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lang="en-AU" sz="1400" b="0" dirty="0">
                <a:solidFill>
                  <a:schemeClr val="tx1"/>
                </a:solidFill>
              </a:defRPr>
            </a:lvl2pPr>
          </a:lstStyle>
          <a:p>
            <a:pPr lvl="0" defTabSz="913851"/>
            <a:r>
              <a:rPr lang="en-US"/>
              <a:t>Edit Master text styles</a:t>
            </a:r>
          </a:p>
          <a:p>
            <a:pPr marL="457200" lvl="1"/>
            <a:endParaRPr lang="en-AU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C7D0E5F2-CCB7-4A31-883A-94B45B5E2D9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900328" y="4154849"/>
            <a:ext cx="2106857" cy="1901464"/>
          </a:xfrm>
          <a:solidFill>
            <a:schemeClr val="bg1">
              <a:lumMod val="95000"/>
            </a:schemeClr>
          </a:solidFill>
        </p:spPr>
        <p:txBody>
          <a:bodyPr wrap="square" lIns="108000" tIns="792000" rIns="108000" bIns="216000" rtlCol="0" anchor="t" anchorCtr="0">
            <a:noAutofit/>
          </a:bodyPr>
          <a:lstStyle>
            <a:lvl1pPr>
              <a:lnSpc>
                <a:spcPct val="100000"/>
              </a:lnSpc>
              <a:defRPr lang="en-US" sz="1400" b="0" dirty="0" smtClean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lang="en-AU" sz="1400" b="0" dirty="0">
                <a:solidFill>
                  <a:schemeClr val="tx1"/>
                </a:solidFill>
              </a:defRPr>
            </a:lvl2pPr>
          </a:lstStyle>
          <a:p>
            <a:pPr lvl="0" defTabSz="913851"/>
            <a:r>
              <a:rPr lang="en-US"/>
              <a:t>Edit Master text styles</a:t>
            </a:r>
          </a:p>
          <a:p>
            <a:pPr marL="457200" lvl="1"/>
            <a:endParaRPr lang="en-AU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AF589897-742F-42D7-97DC-C6FBE4FC4DA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127381" y="4154849"/>
            <a:ext cx="2106857" cy="1901464"/>
          </a:xfrm>
          <a:solidFill>
            <a:schemeClr val="bg1">
              <a:lumMod val="95000"/>
            </a:schemeClr>
          </a:solidFill>
        </p:spPr>
        <p:txBody>
          <a:bodyPr wrap="square" lIns="108000" tIns="792000" rIns="108000" bIns="216000" rtlCol="0" anchor="t" anchorCtr="0">
            <a:noAutofit/>
          </a:bodyPr>
          <a:lstStyle>
            <a:lvl1pPr>
              <a:lnSpc>
                <a:spcPct val="100000"/>
              </a:lnSpc>
              <a:defRPr lang="en-US" sz="1400" b="0" dirty="0" smtClean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lang="en-AU" sz="1400" b="0" dirty="0">
                <a:solidFill>
                  <a:schemeClr val="tx1"/>
                </a:solidFill>
              </a:defRPr>
            </a:lvl2pPr>
          </a:lstStyle>
          <a:p>
            <a:pPr lvl="0" defTabSz="913851"/>
            <a:r>
              <a:rPr lang="en-US"/>
              <a:t>Edit Master text styles</a:t>
            </a:r>
          </a:p>
          <a:p>
            <a:pPr marL="457200" lvl="1"/>
            <a:endParaRPr lang="en-AU"/>
          </a:p>
        </p:txBody>
      </p:sp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12089" y="1"/>
            <a:ext cx="437991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0BBFCE-818C-4B03-BA00-50C532B99E6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73275" y="1938344"/>
            <a:ext cx="6560963" cy="1698625"/>
          </a:xfrm>
          <a:prstGeom prst="rect">
            <a:avLst/>
          </a:prstGeom>
        </p:spPr>
        <p:txBody>
          <a:bodyPr tIns="252000"/>
          <a:lstStyle>
            <a:lvl1pPr>
              <a:spcBef>
                <a:spcPts val="800"/>
              </a:spcBef>
              <a:defRPr sz="1400"/>
            </a:lvl1pPr>
            <a:lvl2pPr>
              <a:spcBef>
                <a:spcPts val="800"/>
              </a:spcBef>
              <a:defRPr sz="1400"/>
            </a:lvl2pPr>
            <a:lvl3pPr>
              <a:spcBef>
                <a:spcPts val="800"/>
              </a:spcBef>
              <a:defRPr sz="1400"/>
            </a:lvl3pPr>
            <a:lvl4pPr>
              <a:spcBef>
                <a:spcPts val="800"/>
              </a:spcBef>
              <a:defRPr sz="1400"/>
            </a:lvl4pPr>
            <a:lvl5pPr>
              <a:spcBef>
                <a:spcPts val="8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162E9F-388A-4F19-89C7-A0377D379B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6073" y="1240876"/>
            <a:ext cx="6568165" cy="1191480"/>
          </a:xfrm>
        </p:spPr>
        <p:txBody>
          <a:bodyPr wrap="square">
            <a:sp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1514" y="819408"/>
            <a:ext cx="6562724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cap="none" baseline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620E0274-E201-4D10-B10D-6D1B4E14A1DA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F4D6478-4E6C-4E04-BE72-89D4FEE6B8A7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46642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ECFFB5DC-2193-446F-ABD4-D037F652B1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B620DA-AC42-4C3F-B7FE-B80A1EAFE0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D9A19B0-A261-48EA-9502-1C010BC089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551808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98330" y="2775627"/>
            <a:ext cx="8541502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88497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(Yellow)">
    <p:bg>
      <p:bgPr>
        <a:gradFill flip="none" rotWithShape="1">
          <a:gsLst>
            <a:gs pos="0">
              <a:schemeClr val="accent2"/>
            </a:gs>
            <a:gs pos="90000">
              <a:schemeClr val="accent1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8561387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819055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(Purple)">
    <p:bg>
      <p:bgPr>
        <a:gradFill flip="none" rotWithShape="1">
          <a:gsLst>
            <a:gs pos="0">
              <a:schemeClr val="accent6"/>
            </a:gs>
            <a:gs pos="90000">
              <a:schemeClr val="accent4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8561387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869816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imag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30190BA-78C8-4808-8D04-5CBEFDDB81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7459313" cy="1001948"/>
          </a:xfrm>
        </p:spPr>
        <p:txBody>
          <a:bodyPr wrap="square"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3955825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image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DE99325F-5A58-4136-9444-6BFA5728F2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8561387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768960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_image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FE5CE16-280F-436E-908A-882E1A464A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3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E99325F-5A58-4136-9444-6BFA5728F2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8561387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103389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_image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DE99325F-5A58-4136-9444-6BFA5728F2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8800" y="2775626"/>
            <a:ext cx="8561387" cy="1001948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0152097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_A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1">
            <a:extLst>
              <a:ext uri="{FF2B5EF4-FFF2-40B4-BE49-F238E27FC236}">
                <a16:creationId xmlns:a16="http://schemas.microsoft.com/office/drawing/2014/main" id="{98BB411B-9641-4D9D-B206-59C8DD8A6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" r="91"/>
          <a:stretch>
            <a:fillRect/>
          </a:stretch>
        </p:blipFill>
        <p:spPr>
          <a:xfrm>
            <a:off x="0" y="0"/>
            <a:ext cx="12192000" cy="6873875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304" name="Acc_CoreBrand_Logo_Black_Purple" hidden="1">
            <a:extLst>
              <a:ext uri="{FF2B5EF4-FFF2-40B4-BE49-F238E27FC236}">
                <a16:creationId xmlns:a16="http://schemas.microsoft.com/office/drawing/2014/main" id="{079A257B-549F-4450-95A9-7265440209B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8"/>
          </a:xfrm>
          <a:prstGeom prst="rect">
            <a:avLst/>
          </a:prstGeom>
        </p:spPr>
      </p:pic>
      <p:sp>
        <p:nvSpPr>
          <p:cNvPr id="22" name="Subtitle (3rd Level)">
            <a:extLst>
              <a:ext uri="{FF2B5EF4-FFF2-40B4-BE49-F238E27FC236}">
                <a16:creationId xmlns:a16="http://schemas.microsoft.com/office/drawing/2014/main" id="{BA2A4EF5-0A5E-4F4F-B044-8D91FBC4F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3" name="Long Subline">
            <a:extLst>
              <a:ext uri="{FF2B5EF4-FFF2-40B4-BE49-F238E27FC236}">
                <a16:creationId xmlns:a16="http://schemas.microsoft.com/office/drawing/2014/main" id="{460327B0-353D-46AA-B54E-5179542E68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4" name="MasterTitle">
            <a:extLst>
              <a:ext uri="{FF2B5EF4-FFF2-40B4-BE49-F238E27FC236}">
                <a16:creationId xmlns:a16="http://schemas.microsoft.com/office/drawing/2014/main" id="{46C97AB3-E801-482B-8A1C-5A2635F083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6" name="Acc_Applied_Intell_Wordmark_BLK Colour Positive">
            <a:extLst>
              <a:ext uri="{FF2B5EF4-FFF2-40B4-BE49-F238E27FC236}">
                <a16:creationId xmlns:a16="http://schemas.microsoft.com/office/drawing/2014/main" id="{5D4543D6-FC27-4509-A338-2A7AC3DB788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biLevel thresh="75000"/>
          </a:blip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63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s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573FBAA-011E-42EE-8526-430FCBD7761C}"/>
              </a:ext>
            </a:extLst>
          </p:cNvPr>
          <p:cNvGrpSpPr/>
          <p:nvPr/>
        </p:nvGrpSpPr>
        <p:grpSpPr>
          <a:xfrm>
            <a:off x="334800" y="327025"/>
            <a:ext cx="11517475" cy="6191250"/>
            <a:chOff x="334800" y="327025"/>
            <a:chExt cx="11517475" cy="6191250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28CCFCE2-0743-4AF2-91BB-7A3A538615DD}"/>
                </a:ext>
              </a:extLst>
            </p:cNvPr>
            <p:cNvCxnSpPr/>
            <p:nvPr/>
          </p:nvCxnSpPr>
          <p:spPr>
            <a:xfrm>
              <a:off x="334963" y="327025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81B3C53D-017C-4E78-99B7-F07CB4CFD07B}"/>
                </a:ext>
              </a:extLst>
            </p:cNvPr>
            <p:cNvCxnSpPr>
              <a:cxnSpLocks/>
            </p:cNvCxnSpPr>
            <p:nvPr/>
          </p:nvCxnSpPr>
          <p:spPr>
            <a:xfrm>
              <a:off x="11852275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27A303CA-D672-479E-8B14-63CB9ECA95ED}"/>
                </a:ext>
              </a:extLst>
            </p:cNvPr>
            <p:cNvCxnSpPr>
              <a:cxnSpLocks/>
            </p:cNvCxnSpPr>
            <p:nvPr/>
          </p:nvCxnSpPr>
          <p:spPr>
            <a:xfrm>
              <a:off x="18180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04831E3C-02E1-4443-B055-237A933D96B1}"/>
                </a:ext>
              </a:extLst>
            </p:cNvPr>
            <p:cNvCxnSpPr>
              <a:cxnSpLocks/>
            </p:cNvCxnSpPr>
            <p:nvPr/>
          </p:nvCxnSpPr>
          <p:spPr>
            <a:xfrm>
              <a:off x="1458913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CD4B43B-E9AC-47D2-82CE-648B2E92EEBD}"/>
                </a:ext>
              </a:extLst>
            </p:cNvPr>
            <p:cNvCxnSpPr>
              <a:cxnSpLocks/>
            </p:cNvCxnSpPr>
            <p:nvPr/>
          </p:nvCxnSpPr>
          <p:spPr>
            <a:xfrm>
              <a:off x="3348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148896A-BFDE-48FE-910E-F835A1EB88DB}"/>
                </a:ext>
              </a:extLst>
            </p:cNvPr>
            <p:cNvCxnSpPr>
              <a:cxnSpLocks/>
            </p:cNvCxnSpPr>
            <p:nvPr/>
          </p:nvCxnSpPr>
          <p:spPr>
            <a:xfrm>
              <a:off x="33048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4D3324-33A9-4682-B60E-4FC3D38CD6F0}"/>
                </a:ext>
              </a:extLst>
            </p:cNvPr>
            <p:cNvCxnSpPr>
              <a:cxnSpLocks/>
            </p:cNvCxnSpPr>
            <p:nvPr/>
          </p:nvCxnSpPr>
          <p:spPr>
            <a:xfrm>
              <a:off x="29448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FE83D284-7674-46EA-9A90-CE74BD21F02C}"/>
                </a:ext>
              </a:extLst>
            </p:cNvPr>
            <p:cNvCxnSpPr>
              <a:cxnSpLocks/>
            </p:cNvCxnSpPr>
            <p:nvPr/>
          </p:nvCxnSpPr>
          <p:spPr>
            <a:xfrm>
              <a:off x="4790713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AC6E7C8-63C5-4214-8E11-1CCB0BF0729C}"/>
                </a:ext>
              </a:extLst>
            </p:cNvPr>
            <p:cNvCxnSpPr>
              <a:cxnSpLocks/>
            </p:cNvCxnSpPr>
            <p:nvPr/>
          </p:nvCxnSpPr>
          <p:spPr>
            <a:xfrm>
              <a:off x="4430713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0586DFF-6382-47AC-98AA-4A44B61B9EE9}"/>
                </a:ext>
              </a:extLst>
            </p:cNvPr>
            <p:cNvCxnSpPr>
              <a:cxnSpLocks/>
            </p:cNvCxnSpPr>
            <p:nvPr/>
          </p:nvCxnSpPr>
          <p:spPr>
            <a:xfrm>
              <a:off x="6276613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49DC86B-6985-48BA-8E46-4D888E24E8CA}"/>
                </a:ext>
              </a:extLst>
            </p:cNvPr>
            <p:cNvCxnSpPr>
              <a:cxnSpLocks/>
            </p:cNvCxnSpPr>
            <p:nvPr/>
          </p:nvCxnSpPr>
          <p:spPr>
            <a:xfrm>
              <a:off x="5916613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E7671E3-73EA-4547-B27F-A26ACC422B5D}"/>
                </a:ext>
              </a:extLst>
            </p:cNvPr>
            <p:cNvCxnSpPr>
              <a:cxnSpLocks/>
            </p:cNvCxnSpPr>
            <p:nvPr/>
          </p:nvCxnSpPr>
          <p:spPr>
            <a:xfrm>
              <a:off x="77580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C1CE602-F460-4466-8270-8B1B618763FD}"/>
                </a:ext>
              </a:extLst>
            </p:cNvPr>
            <p:cNvCxnSpPr>
              <a:cxnSpLocks/>
            </p:cNvCxnSpPr>
            <p:nvPr/>
          </p:nvCxnSpPr>
          <p:spPr>
            <a:xfrm>
              <a:off x="739800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5C621EC-24E3-4963-808F-7F5172D84CA3}"/>
                </a:ext>
              </a:extLst>
            </p:cNvPr>
            <p:cNvCxnSpPr>
              <a:cxnSpLocks/>
            </p:cNvCxnSpPr>
            <p:nvPr/>
          </p:nvCxnSpPr>
          <p:spPr>
            <a:xfrm>
              <a:off x="924365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48885A6-5A73-48B0-910F-ED86B5836DA3}"/>
                </a:ext>
              </a:extLst>
            </p:cNvPr>
            <p:cNvCxnSpPr>
              <a:cxnSpLocks/>
            </p:cNvCxnSpPr>
            <p:nvPr/>
          </p:nvCxnSpPr>
          <p:spPr>
            <a:xfrm>
              <a:off x="888365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1CE38F8-C136-48EE-AB48-3364F8A14150}"/>
                </a:ext>
              </a:extLst>
            </p:cNvPr>
            <p:cNvCxnSpPr>
              <a:cxnSpLocks/>
            </p:cNvCxnSpPr>
            <p:nvPr/>
          </p:nvCxnSpPr>
          <p:spPr>
            <a:xfrm>
              <a:off x="1072955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3374B40-EE97-4F76-B6C4-0ACA8A7BE6C4}"/>
                </a:ext>
              </a:extLst>
            </p:cNvPr>
            <p:cNvCxnSpPr>
              <a:cxnSpLocks/>
            </p:cNvCxnSpPr>
            <p:nvPr/>
          </p:nvCxnSpPr>
          <p:spPr>
            <a:xfrm>
              <a:off x="10369550" y="327025"/>
              <a:ext cx="0" cy="619125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B3FC10E-004E-4D0D-A874-55627E41DD90}"/>
                </a:ext>
              </a:extLst>
            </p:cNvPr>
            <p:cNvCxnSpPr/>
            <p:nvPr/>
          </p:nvCxnSpPr>
          <p:spPr>
            <a:xfrm>
              <a:off x="334963" y="6516857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5731C40-EED1-43FF-A19C-87391C3BB9AB}"/>
                </a:ext>
              </a:extLst>
            </p:cNvPr>
            <p:cNvCxnSpPr/>
            <p:nvPr/>
          </p:nvCxnSpPr>
          <p:spPr>
            <a:xfrm>
              <a:off x="334963" y="6057900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363EFAB-B919-43FC-AE3A-26DFA925D869}"/>
                </a:ext>
              </a:extLst>
            </p:cNvPr>
            <p:cNvCxnSpPr/>
            <p:nvPr/>
          </p:nvCxnSpPr>
          <p:spPr>
            <a:xfrm>
              <a:off x="334963" y="4149725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2834368-A8C7-46EF-B290-55C17057BFD8}"/>
                </a:ext>
              </a:extLst>
            </p:cNvPr>
            <p:cNvCxnSpPr/>
            <p:nvPr/>
          </p:nvCxnSpPr>
          <p:spPr>
            <a:xfrm>
              <a:off x="334963" y="2152650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1AE74D66-A3D4-484D-BE07-36F6C8B1CD5B}"/>
                </a:ext>
              </a:extLst>
            </p:cNvPr>
            <p:cNvCxnSpPr/>
            <p:nvPr/>
          </p:nvCxnSpPr>
          <p:spPr>
            <a:xfrm>
              <a:off x="334963" y="1762125"/>
              <a:ext cx="11517312" cy="0"/>
            </a:xfrm>
            <a:prstGeom prst="line">
              <a:avLst/>
            </a:prstGeom>
            <a:ln cap="rnd">
              <a:solidFill>
                <a:srgbClr val="00B0F0">
                  <a:alpha val="40000"/>
                </a:srgb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660101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195392" y="1775407"/>
            <a:ext cx="8183563" cy="1477328"/>
          </a:xfrm>
        </p:spPr>
        <p:txBody>
          <a:bodyPr wrap="square" anchor="t">
            <a:spAutoFit/>
          </a:bodyPr>
          <a:lstStyle>
            <a:lvl1pPr marL="0" marR="0" indent="0" algn="l" defTabSz="91421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3200" b="0" cap="none" baseline="0">
                <a:solidFill>
                  <a:schemeClr val="tx1"/>
                </a:solidFill>
                <a:latin typeface="+mj-lt"/>
              </a:defRPr>
            </a:lvl1pPr>
            <a:lvl2pPr algn="ctr">
              <a:defRPr sz="4399" b="1"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quote at 40pt min 36pt max 4 lines as se </a:t>
            </a:r>
            <a:r>
              <a:rPr lang="en-US" err="1"/>
              <a:t>eniolestotate</a:t>
            </a:r>
            <a:r>
              <a:rPr lang="en-US"/>
              <a:t> con </a:t>
            </a:r>
            <a:r>
              <a:rPr lang="en-US" err="1"/>
              <a:t>raerum</a:t>
            </a:r>
            <a:r>
              <a:rPr lang="en-US"/>
              <a:t> es </a:t>
            </a:r>
            <a:r>
              <a:rPr lang="en-US" err="1"/>
              <a:t>ini</a:t>
            </a:r>
            <a:r>
              <a:rPr lang="en-US"/>
              <a:t> </a:t>
            </a:r>
            <a:r>
              <a:rPr lang="en-US" err="1"/>
              <a:t>erepudi</a:t>
            </a:r>
            <a:r>
              <a:rPr lang="en-US"/>
              <a:t> </a:t>
            </a:r>
            <a:r>
              <a:rPr lang="en-US" err="1"/>
              <a:t>odit</a:t>
            </a:r>
            <a:r>
              <a:rPr lang="en-US"/>
              <a:t> </a:t>
            </a:r>
            <a:r>
              <a:rPr lang="en-US" err="1"/>
              <a:t>ehendiam</a:t>
            </a:r>
            <a:r>
              <a:rPr lang="en-US"/>
              <a:t> </a:t>
            </a:r>
            <a:r>
              <a:rPr lang="en-US" err="1"/>
              <a:t>eum</a:t>
            </a:r>
            <a:r>
              <a:rPr lang="en-US"/>
              <a:t>.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7016750" y="4852491"/>
            <a:ext cx="3351213" cy="772519"/>
          </a:xfrm>
        </p:spPr>
        <p:txBody>
          <a:bodyPr wrap="square" anchor="ctr">
            <a:spAutoFit/>
          </a:bodyPr>
          <a:lstStyle>
            <a:lvl1pPr marL="0" marR="0" indent="0" algn="l" defTabSz="914217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000" b="1">
                <a:solidFill>
                  <a:schemeClr val="accent1"/>
                </a:solidFill>
                <a:latin typeface="Arial Black" panose="020B0A04020102020204" pitchFamily="34" charset="0"/>
              </a:defRPr>
            </a:lvl2pPr>
            <a:lvl3pPr algn="ctr">
              <a:defRPr sz="4399" b="1">
                <a:latin typeface="Arial Black" panose="020B0A04020102020204" pitchFamily="34" charset="0"/>
              </a:defRPr>
            </a:lvl3pPr>
            <a:lvl4pPr algn="ctr">
              <a:defRPr sz="4399" b="1">
                <a:latin typeface="Arial Black" panose="020B0A04020102020204" pitchFamily="34" charset="0"/>
              </a:defRPr>
            </a:lvl4pPr>
            <a:lvl5pPr algn="ctr">
              <a:defRPr sz="4399" b="1">
                <a:latin typeface="Arial Black" panose="020B0A04020102020204" pitchFamily="34" charset="0"/>
              </a:defRPr>
            </a:lvl5pPr>
          </a:lstStyle>
          <a:p>
            <a:pPr lvl="1"/>
            <a:r>
              <a:rPr lang="en-US"/>
              <a:t>Insert Name</a:t>
            </a:r>
          </a:p>
          <a:p>
            <a:r>
              <a:rPr lang="en-US"/>
              <a:t>Insert author’s details here.</a:t>
            </a:r>
            <a:br>
              <a:rPr lang="en-US"/>
            </a:br>
            <a:r>
              <a:rPr lang="en-US"/>
              <a:t>Maximum 3 lines at 16pt, minimum 14pt. </a:t>
            </a:r>
          </a:p>
        </p:txBody>
      </p:sp>
      <p:sp>
        <p:nvSpPr>
          <p:cNvPr id="15" name="Footer Placeholder 8">
            <a:extLst>
              <a:ext uri="{FF2B5EF4-FFF2-40B4-BE49-F238E27FC236}">
                <a16:creationId xmlns:a16="http://schemas.microsoft.com/office/drawing/2014/main" id="{74812D71-1472-4589-9F28-15B1DDED6AD1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>
          <a:xfrm>
            <a:off x="7423200" y="6382054"/>
            <a:ext cx="4114800" cy="163513"/>
          </a:xfrm>
        </p:spPr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16" name="Slide Number Placeholder 9">
            <a:extLst>
              <a:ext uri="{FF2B5EF4-FFF2-40B4-BE49-F238E27FC236}">
                <a16:creationId xmlns:a16="http://schemas.microsoft.com/office/drawing/2014/main" id="{205ECBB1-AFE9-464B-8266-5A7DCA85F91A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>
          <a:xfrm>
            <a:off x="11625945" y="6382054"/>
            <a:ext cx="235945" cy="163513"/>
          </a:xfrm>
        </p:spPr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3B00F80-0C2D-45DD-92C0-2E1F0263C36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778500" y="4686300"/>
            <a:ext cx="1104900" cy="1104900"/>
          </a:xfrm>
          <a:solidFill>
            <a:schemeClr val="tx2">
              <a:lumMod val="40000"/>
              <a:lumOff val="60000"/>
            </a:schemeClr>
          </a:solidFill>
        </p:spPr>
        <p:txBody>
          <a:bodyPr lIns="72000" tIns="72000" rIns="72000"/>
          <a:lstStyle>
            <a:lvl1pPr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7678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Key Point 1.1 – (Right) –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A0CACF59-9EB2-4C8F-8B0F-47BAAF9BED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3708000" anchor="ctr" anchorCtr="0"/>
          <a:lstStyle>
            <a:lvl1pPr algn="l">
              <a:defRPr sz="1600" b="0" cap="none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AU"/>
              <a:t>Copyright © 2019 Accenture. All rights reserved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71513" y="1428628"/>
            <a:ext cx="5568950" cy="4096970"/>
          </a:xfr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80000"/>
              </a:lnSpc>
              <a:defRPr lang="en-US" sz="4999" cap="none" baseline="0" dirty="0" smtClean="0">
                <a:solidFill>
                  <a:schemeClr val="accent1"/>
                </a:solidFill>
                <a:latin typeface="+mj-lt"/>
              </a:defRPr>
            </a:lvl1pPr>
            <a:lvl2pPr marL="0" indent="0">
              <a:spcAft>
                <a:spcPts val="800"/>
              </a:spcAft>
              <a:buNone/>
              <a:defRPr lang="en-US" sz="2000" b="1" dirty="0" smtClean="0"/>
            </a:lvl2pPr>
            <a:lvl3pPr marL="180939" indent="-180939">
              <a:spcBef>
                <a:spcPts val="0"/>
              </a:spcBef>
              <a:buFont typeface="Arial" panose="020B0604020202020204" pitchFamily="34" charset="0"/>
              <a:buChar char="•"/>
              <a:defRPr lang="en-US" sz="1800" b="0" i="0" kern="1200" cap="none" baseline="0" dirty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3pPr>
            <a:lvl4pPr marL="468626" indent="-285750">
              <a:buFont typeface="Arial" panose="020B0604020202020204" pitchFamily="34" charset="0"/>
              <a:buChar char="–"/>
              <a:defRPr lang="en-US" sz="1800" dirty="0" smtClean="0"/>
            </a:lvl4pPr>
            <a:lvl5pPr marL="638047" indent="-192050">
              <a:buFont typeface="Arial" panose="020B0604020202020204" pitchFamily="34" charset="0"/>
              <a:buChar char="•"/>
              <a:defRPr lang="en-US" sz="1800" dirty="0"/>
            </a:lvl5pPr>
            <a:lvl6pPr marL="903107" indent="-265060">
              <a:buFont typeface="Arial" panose="020B0604020202020204" pitchFamily="34" charset="0"/>
              <a:buChar char="–"/>
              <a:defRPr sz="1800"/>
            </a:lvl6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Edit Master text styles</a:t>
            </a:r>
          </a:p>
          <a:p>
            <a:pPr lvl="2"/>
            <a:r>
              <a:rPr lang="en-US"/>
              <a:t>Second level</a:t>
            </a:r>
          </a:p>
          <a:p>
            <a:pPr marL="365751" lvl="2" indent="-182875" algn="l" defTabSz="1734634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‒"/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588060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2048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C2002FBE-6691-4208-ABD0-6DDF421B917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81000" y="410215"/>
            <a:ext cx="4554268" cy="676800"/>
            <a:chOff x="5310188" y="1422401"/>
            <a:chExt cx="4219575" cy="627062"/>
          </a:xfrm>
        </p:grpSpPr>
        <p:sp>
          <p:nvSpPr>
            <p:cNvPr id="11" name="Freeform 158">
              <a:extLst>
                <a:ext uri="{FF2B5EF4-FFF2-40B4-BE49-F238E27FC236}">
                  <a16:creationId xmlns:a16="http://schemas.microsoft.com/office/drawing/2014/main" id="{9811D88A-3A16-453D-9CC9-7724DAC9AF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9863" y="1422401"/>
              <a:ext cx="206375" cy="217488"/>
            </a:xfrm>
            <a:custGeom>
              <a:avLst/>
              <a:gdLst>
                <a:gd name="T0" fmla="*/ 0 w 568"/>
                <a:gd name="T1" fmla="*/ 424 h 601"/>
                <a:gd name="T2" fmla="*/ 332 w 568"/>
                <a:gd name="T3" fmla="*/ 301 h 601"/>
                <a:gd name="T4" fmla="*/ 0 w 568"/>
                <a:gd name="T5" fmla="*/ 172 h 601"/>
                <a:gd name="T6" fmla="*/ 0 w 568"/>
                <a:gd name="T7" fmla="*/ 0 h 601"/>
                <a:gd name="T8" fmla="*/ 568 w 568"/>
                <a:gd name="T9" fmla="*/ 229 h 601"/>
                <a:gd name="T10" fmla="*/ 568 w 568"/>
                <a:gd name="T11" fmla="*/ 371 h 601"/>
                <a:gd name="T12" fmla="*/ 0 w 568"/>
                <a:gd name="T13" fmla="*/ 601 h 601"/>
                <a:gd name="T14" fmla="*/ 0 w 568"/>
                <a:gd name="T15" fmla="*/ 424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8" h="601">
                  <a:moveTo>
                    <a:pt x="0" y="424"/>
                  </a:moveTo>
                  <a:lnTo>
                    <a:pt x="332" y="301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568" y="229"/>
                  </a:lnTo>
                  <a:lnTo>
                    <a:pt x="568" y="371"/>
                  </a:lnTo>
                  <a:lnTo>
                    <a:pt x="0" y="601"/>
                  </a:lnTo>
                  <a:lnTo>
                    <a:pt x="0" y="42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" name="Freeform 159">
              <a:extLst>
                <a:ext uri="{FF2B5EF4-FFF2-40B4-BE49-F238E27FC236}">
                  <a16:creationId xmlns:a16="http://schemas.microsoft.com/office/drawing/2014/main" id="{24A17890-5127-456D-9DFF-645B2A8E2F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10188" y="1654176"/>
              <a:ext cx="2078038" cy="317500"/>
            </a:xfrm>
            <a:custGeom>
              <a:avLst/>
              <a:gdLst>
                <a:gd name="T0" fmla="*/ 0 w 5757"/>
                <a:gd name="T1" fmla="*/ 675 h 879"/>
                <a:gd name="T2" fmla="*/ 396 w 5757"/>
                <a:gd name="T3" fmla="*/ 427 h 879"/>
                <a:gd name="T4" fmla="*/ 20 w 5757"/>
                <a:gd name="T5" fmla="*/ 406 h 879"/>
                <a:gd name="T6" fmla="*/ 582 w 5757"/>
                <a:gd name="T7" fmla="*/ 865 h 879"/>
                <a:gd name="T8" fmla="*/ 219 w 5757"/>
                <a:gd name="T9" fmla="*/ 879 h 879"/>
                <a:gd name="T10" fmla="*/ 323 w 5757"/>
                <a:gd name="T11" fmla="*/ 580 h 879"/>
                <a:gd name="T12" fmla="*/ 274 w 5757"/>
                <a:gd name="T13" fmla="*/ 749 h 879"/>
                <a:gd name="T14" fmla="*/ 685 w 5757"/>
                <a:gd name="T15" fmla="*/ 540 h 879"/>
                <a:gd name="T16" fmla="*/ 1294 w 5757"/>
                <a:gd name="T17" fmla="*/ 437 h 879"/>
                <a:gd name="T18" fmla="*/ 874 w 5757"/>
                <a:gd name="T19" fmla="*/ 523 h 879"/>
                <a:gd name="T20" fmla="*/ 1129 w 5757"/>
                <a:gd name="T21" fmla="*/ 620 h 879"/>
                <a:gd name="T22" fmla="*/ 1693 w 5757"/>
                <a:gd name="T23" fmla="*/ 879 h 879"/>
                <a:gd name="T24" fmla="*/ 1694 w 5757"/>
                <a:gd name="T25" fmla="*/ 187 h 879"/>
                <a:gd name="T26" fmla="*/ 1698 w 5757"/>
                <a:gd name="T27" fmla="*/ 330 h 879"/>
                <a:gd name="T28" fmla="*/ 1699 w 5757"/>
                <a:gd name="T29" fmla="*/ 739 h 879"/>
                <a:gd name="T30" fmla="*/ 1693 w 5757"/>
                <a:gd name="T31" fmla="*/ 879 h 879"/>
                <a:gd name="T32" fmla="*/ 2066 w 5757"/>
                <a:gd name="T33" fmla="*/ 531 h 879"/>
                <a:gd name="T34" fmla="*/ 2686 w 5757"/>
                <a:gd name="T35" fmla="*/ 579 h 879"/>
                <a:gd name="T36" fmla="*/ 2515 w 5757"/>
                <a:gd name="T37" fmla="*/ 658 h 879"/>
                <a:gd name="T38" fmla="*/ 2257 w 5757"/>
                <a:gd name="T39" fmla="*/ 456 h 879"/>
                <a:gd name="T40" fmla="*/ 2257 w 5757"/>
                <a:gd name="T41" fmla="*/ 456 h 879"/>
                <a:gd name="T42" fmla="*/ 2986 w 5757"/>
                <a:gd name="T43" fmla="*/ 300 h 879"/>
                <a:gd name="T44" fmla="*/ 3387 w 5757"/>
                <a:gd name="T45" fmla="*/ 865 h 879"/>
                <a:gd name="T46" fmla="*/ 3103 w 5757"/>
                <a:gd name="T47" fmla="*/ 336 h 879"/>
                <a:gd name="T48" fmla="*/ 2800 w 5757"/>
                <a:gd name="T49" fmla="*/ 865 h 879"/>
                <a:gd name="T50" fmla="*/ 3734 w 5757"/>
                <a:gd name="T51" fmla="*/ 200 h 879"/>
                <a:gd name="T52" fmla="*/ 3734 w 5757"/>
                <a:gd name="T53" fmla="*/ 339 h 879"/>
                <a:gd name="T54" fmla="*/ 3865 w 5757"/>
                <a:gd name="T55" fmla="*/ 715 h 879"/>
                <a:gd name="T56" fmla="*/ 3547 w 5757"/>
                <a:gd name="T57" fmla="*/ 673 h 879"/>
                <a:gd name="T58" fmla="*/ 3470 w 5757"/>
                <a:gd name="T59" fmla="*/ 200 h 879"/>
                <a:gd name="T60" fmla="*/ 3734 w 5757"/>
                <a:gd name="T61" fmla="*/ 0 h 879"/>
                <a:gd name="T62" fmla="*/ 4374 w 5757"/>
                <a:gd name="T63" fmla="*/ 767 h 879"/>
                <a:gd name="T64" fmla="*/ 3974 w 5757"/>
                <a:gd name="T65" fmla="*/ 200 h 879"/>
                <a:gd name="T66" fmla="*/ 4257 w 5757"/>
                <a:gd name="T67" fmla="*/ 734 h 879"/>
                <a:gd name="T68" fmla="*/ 4559 w 5757"/>
                <a:gd name="T69" fmla="*/ 200 h 879"/>
                <a:gd name="T70" fmla="*/ 4879 w 5757"/>
                <a:gd name="T71" fmla="*/ 200 h 879"/>
                <a:gd name="T72" fmla="*/ 5079 w 5757"/>
                <a:gd name="T73" fmla="*/ 374 h 879"/>
                <a:gd name="T74" fmla="*/ 4694 w 5757"/>
                <a:gd name="T75" fmla="*/ 865 h 879"/>
                <a:gd name="T76" fmla="*/ 5137 w 5757"/>
                <a:gd name="T77" fmla="*/ 543 h 879"/>
                <a:gd name="T78" fmla="*/ 5757 w 5757"/>
                <a:gd name="T79" fmla="*/ 499 h 879"/>
                <a:gd name="T80" fmla="*/ 5464 w 5757"/>
                <a:gd name="T81" fmla="*/ 744 h 879"/>
                <a:gd name="T82" fmla="*/ 5460 w 5757"/>
                <a:gd name="T83" fmla="*/ 879 h 879"/>
                <a:gd name="T84" fmla="*/ 5455 w 5757"/>
                <a:gd name="T85" fmla="*/ 316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57" h="879">
                  <a:moveTo>
                    <a:pt x="219" y="879"/>
                  </a:moveTo>
                  <a:cubicBezTo>
                    <a:pt x="99" y="879"/>
                    <a:pt x="0" y="818"/>
                    <a:pt x="0" y="683"/>
                  </a:cubicBezTo>
                  <a:lnTo>
                    <a:pt x="0" y="675"/>
                  </a:lnTo>
                  <a:cubicBezTo>
                    <a:pt x="0" y="512"/>
                    <a:pt x="142" y="458"/>
                    <a:pt x="314" y="458"/>
                  </a:cubicBezTo>
                  <a:lnTo>
                    <a:pt x="396" y="458"/>
                  </a:lnTo>
                  <a:lnTo>
                    <a:pt x="396" y="427"/>
                  </a:lnTo>
                  <a:cubicBezTo>
                    <a:pt x="396" y="360"/>
                    <a:pt x="367" y="320"/>
                    <a:pt x="299" y="320"/>
                  </a:cubicBezTo>
                  <a:cubicBezTo>
                    <a:pt x="236" y="320"/>
                    <a:pt x="203" y="355"/>
                    <a:pt x="198" y="406"/>
                  </a:cubicBezTo>
                  <a:lnTo>
                    <a:pt x="20" y="406"/>
                  </a:lnTo>
                  <a:cubicBezTo>
                    <a:pt x="33" y="259"/>
                    <a:pt x="150" y="187"/>
                    <a:pt x="307" y="187"/>
                  </a:cubicBezTo>
                  <a:cubicBezTo>
                    <a:pt x="467" y="187"/>
                    <a:pt x="582" y="255"/>
                    <a:pt x="582" y="420"/>
                  </a:cubicBezTo>
                  <a:lnTo>
                    <a:pt x="582" y="865"/>
                  </a:lnTo>
                  <a:lnTo>
                    <a:pt x="400" y="865"/>
                  </a:lnTo>
                  <a:lnTo>
                    <a:pt x="400" y="788"/>
                  </a:lnTo>
                  <a:cubicBezTo>
                    <a:pt x="368" y="837"/>
                    <a:pt x="307" y="879"/>
                    <a:pt x="219" y="879"/>
                  </a:cubicBezTo>
                  <a:close/>
                  <a:moveTo>
                    <a:pt x="396" y="644"/>
                  </a:moveTo>
                  <a:lnTo>
                    <a:pt x="396" y="580"/>
                  </a:lnTo>
                  <a:lnTo>
                    <a:pt x="323" y="580"/>
                  </a:lnTo>
                  <a:cubicBezTo>
                    <a:pt x="231" y="580"/>
                    <a:pt x="184" y="606"/>
                    <a:pt x="184" y="665"/>
                  </a:cubicBezTo>
                  <a:lnTo>
                    <a:pt x="184" y="672"/>
                  </a:lnTo>
                  <a:cubicBezTo>
                    <a:pt x="184" y="717"/>
                    <a:pt x="212" y="749"/>
                    <a:pt x="274" y="749"/>
                  </a:cubicBezTo>
                  <a:cubicBezTo>
                    <a:pt x="338" y="749"/>
                    <a:pt x="396" y="713"/>
                    <a:pt x="396" y="644"/>
                  </a:cubicBezTo>
                  <a:close/>
                  <a:moveTo>
                    <a:pt x="1002" y="879"/>
                  </a:moveTo>
                  <a:cubicBezTo>
                    <a:pt x="818" y="879"/>
                    <a:pt x="685" y="764"/>
                    <a:pt x="685" y="540"/>
                  </a:cubicBezTo>
                  <a:lnTo>
                    <a:pt x="685" y="531"/>
                  </a:lnTo>
                  <a:cubicBezTo>
                    <a:pt x="685" y="306"/>
                    <a:pt x="827" y="187"/>
                    <a:pt x="1003" y="187"/>
                  </a:cubicBezTo>
                  <a:cubicBezTo>
                    <a:pt x="1154" y="187"/>
                    <a:pt x="1279" y="263"/>
                    <a:pt x="1294" y="437"/>
                  </a:cubicBezTo>
                  <a:lnTo>
                    <a:pt x="1116" y="437"/>
                  </a:lnTo>
                  <a:cubicBezTo>
                    <a:pt x="1105" y="372"/>
                    <a:pt x="1072" y="330"/>
                    <a:pt x="1007" y="330"/>
                  </a:cubicBezTo>
                  <a:cubicBezTo>
                    <a:pt x="928" y="330"/>
                    <a:pt x="874" y="392"/>
                    <a:pt x="874" y="523"/>
                  </a:cubicBezTo>
                  <a:lnTo>
                    <a:pt x="874" y="543"/>
                  </a:lnTo>
                  <a:cubicBezTo>
                    <a:pt x="874" y="678"/>
                    <a:pt x="922" y="739"/>
                    <a:pt x="1008" y="739"/>
                  </a:cubicBezTo>
                  <a:cubicBezTo>
                    <a:pt x="1072" y="739"/>
                    <a:pt x="1119" y="692"/>
                    <a:pt x="1129" y="620"/>
                  </a:cubicBezTo>
                  <a:lnTo>
                    <a:pt x="1298" y="620"/>
                  </a:lnTo>
                  <a:cubicBezTo>
                    <a:pt x="1285" y="771"/>
                    <a:pt x="1182" y="879"/>
                    <a:pt x="1002" y="879"/>
                  </a:cubicBezTo>
                  <a:close/>
                  <a:moveTo>
                    <a:pt x="1693" y="879"/>
                  </a:moveTo>
                  <a:cubicBezTo>
                    <a:pt x="1509" y="879"/>
                    <a:pt x="1376" y="764"/>
                    <a:pt x="1376" y="540"/>
                  </a:cubicBezTo>
                  <a:lnTo>
                    <a:pt x="1376" y="531"/>
                  </a:lnTo>
                  <a:cubicBezTo>
                    <a:pt x="1376" y="306"/>
                    <a:pt x="1518" y="187"/>
                    <a:pt x="1694" y="187"/>
                  </a:cubicBezTo>
                  <a:cubicBezTo>
                    <a:pt x="1845" y="187"/>
                    <a:pt x="1970" y="263"/>
                    <a:pt x="1985" y="437"/>
                  </a:cubicBezTo>
                  <a:lnTo>
                    <a:pt x="1807" y="437"/>
                  </a:lnTo>
                  <a:cubicBezTo>
                    <a:pt x="1796" y="372"/>
                    <a:pt x="1763" y="330"/>
                    <a:pt x="1698" y="330"/>
                  </a:cubicBezTo>
                  <a:cubicBezTo>
                    <a:pt x="1619" y="330"/>
                    <a:pt x="1565" y="392"/>
                    <a:pt x="1565" y="523"/>
                  </a:cubicBezTo>
                  <a:lnTo>
                    <a:pt x="1565" y="543"/>
                  </a:lnTo>
                  <a:cubicBezTo>
                    <a:pt x="1565" y="678"/>
                    <a:pt x="1613" y="739"/>
                    <a:pt x="1699" y="739"/>
                  </a:cubicBezTo>
                  <a:cubicBezTo>
                    <a:pt x="1763" y="739"/>
                    <a:pt x="1810" y="692"/>
                    <a:pt x="1820" y="620"/>
                  </a:cubicBezTo>
                  <a:lnTo>
                    <a:pt x="1989" y="620"/>
                  </a:lnTo>
                  <a:cubicBezTo>
                    <a:pt x="1976" y="771"/>
                    <a:pt x="1873" y="879"/>
                    <a:pt x="1693" y="879"/>
                  </a:cubicBezTo>
                  <a:close/>
                  <a:moveTo>
                    <a:pt x="2389" y="879"/>
                  </a:moveTo>
                  <a:cubicBezTo>
                    <a:pt x="2197" y="879"/>
                    <a:pt x="2066" y="764"/>
                    <a:pt x="2066" y="543"/>
                  </a:cubicBezTo>
                  <a:lnTo>
                    <a:pt x="2066" y="531"/>
                  </a:lnTo>
                  <a:cubicBezTo>
                    <a:pt x="2066" y="308"/>
                    <a:pt x="2205" y="187"/>
                    <a:pt x="2383" y="187"/>
                  </a:cubicBezTo>
                  <a:cubicBezTo>
                    <a:pt x="2548" y="187"/>
                    <a:pt x="2686" y="279"/>
                    <a:pt x="2686" y="499"/>
                  </a:cubicBezTo>
                  <a:lnTo>
                    <a:pt x="2686" y="579"/>
                  </a:lnTo>
                  <a:lnTo>
                    <a:pt x="2254" y="579"/>
                  </a:lnTo>
                  <a:cubicBezTo>
                    <a:pt x="2262" y="698"/>
                    <a:pt x="2313" y="744"/>
                    <a:pt x="2393" y="744"/>
                  </a:cubicBezTo>
                  <a:cubicBezTo>
                    <a:pt x="2464" y="744"/>
                    <a:pt x="2502" y="706"/>
                    <a:pt x="2515" y="658"/>
                  </a:cubicBezTo>
                  <a:lnTo>
                    <a:pt x="2686" y="658"/>
                  </a:lnTo>
                  <a:cubicBezTo>
                    <a:pt x="2666" y="783"/>
                    <a:pt x="2563" y="879"/>
                    <a:pt x="2389" y="879"/>
                  </a:cubicBezTo>
                  <a:close/>
                  <a:moveTo>
                    <a:pt x="2257" y="456"/>
                  </a:moveTo>
                  <a:lnTo>
                    <a:pt x="2506" y="456"/>
                  </a:lnTo>
                  <a:cubicBezTo>
                    <a:pt x="2502" y="358"/>
                    <a:pt x="2457" y="316"/>
                    <a:pt x="2384" y="316"/>
                  </a:cubicBezTo>
                  <a:cubicBezTo>
                    <a:pt x="2325" y="316"/>
                    <a:pt x="2272" y="348"/>
                    <a:pt x="2257" y="456"/>
                  </a:cubicBezTo>
                  <a:close/>
                  <a:moveTo>
                    <a:pt x="2800" y="200"/>
                  </a:moveTo>
                  <a:lnTo>
                    <a:pt x="2986" y="200"/>
                  </a:lnTo>
                  <a:lnTo>
                    <a:pt x="2986" y="300"/>
                  </a:lnTo>
                  <a:cubicBezTo>
                    <a:pt x="3019" y="237"/>
                    <a:pt x="3085" y="187"/>
                    <a:pt x="3186" y="187"/>
                  </a:cubicBezTo>
                  <a:cubicBezTo>
                    <a:pt x="3307" y="187"/>
                    <a:pt x="3387" y="259"/>
                    <a:pt x="3387" y="420"/>
                  </a:cubicBezTo>
                  <a:lnTo>
                    <a:pt x="3387" y="865"/>
                  </a:lnTo>
                  <a:lnTo>
                    <a:pt x="3202" y="865"/>
                  </a:lnTo>
                  <a:lnTo>
                    <a:pt x="3202" y="448"/>
                  </a:lnTo>
                  <a:cubicBezTo>
                    <a:pt x="3202" y="371"/>
                    <a:pt x="3170" y="336"/>
                    <a:pt x="3103" y="336"/>
                  </a:cubicBezTo>
                  <a:cubicBezTo>
                    <a:pt x="3038" y="336"/>
                    <a:pt x="2986" y="376"/>
                    <a:pt x="2986" y="460"/>
                  </a:cubicBezTo>
                  <a:lnTo>
                    <a:pt x="2986" y="865"/>
                  </a:lnTo>
                  <a:lnTo>
                    <a:pt x="2800" y="865"/>
                  </a:lnTo>
                  <a:lnTo>
                    <a:pt x="2800" y="200"/>
                  </a:lnTo>
                  <a:close/>
                  <a:moveTo>
                    <a:pt x="3734" y="0"/>
                  </a:moveTo>
                  <a:lnTo>
                    <a:pt x="3734" y="200"/>
                  </a:lnTo>
                  <a:lnTo>
                    <a:pt x="3861" y="200"/>
                  </a:lnTo>
                  <a:lnTo>
                    <a:pt x="3861" y="339"/>
                  </a:lnTo>
                  <a:lnTo>
                    <a:pt x="3734" y="339"/>
                  </a:lnTo>
                  <a:lnTo>
                    <a:pt x="3734" y="654"/>
                  </a:lnTo>
                  <a:cubicBezTo>
                    <a:pt x="3734" y="703"/>
                    <a:pt x="3757" y="726"/>
                    <a:pt x="3800" y="726"/>
                  </a:cubicBezTo>
                  <a:cubicBezTo>
                    <a:pt x="3827" y="726"/>
                    <a:pt x="3847" y="722"/>
                    <a:pt x="3865" y="715"/>
                  </a:cubicBezTo>
                  <a:lnTo>
                    <a:pt x="3865" y="860"/>
                  </a:lnTo>
                  <a:cubicBezTo>
                    <a:pt x="3843" y="866"/>
                    <a:pt x="3806" y="873"/>
                    <a:pt x="3760" y="873"/>
                  </a:cubicBezTo>
                  <a:cubicBezTo>
                    <a:pt x="3616" y="873"/>
                    <a:pt x="3547" y="807"/>
                    <a:pt x="3547" y="673"/>
                  </a:cubicBezTo>
                  <a:lnTo>
                    <a:pt x="3547" y="339"/>
                  </a:lnTo>
                  <a:lnTo>
                    <a:pt x="3470" y="339"/>
                  </a:lnTo>
                  <a:lnTo>
                    <a:pt x="3470" y="200"/>
                  </a:lnTo>
                  <a:lnTo>
                    <a:pt x="3547" y="200"/>
                  </a:lnTo>
                  <a:lnTo>
                    <a:pt x="3547" y="76"/>
                  </a:lnTo>
                  <a:lnTo>
                    <a:pt x="3734" y="0"/>
                  </a:lnTo>
                  <a:close/>
                  <a:moveTo>
                    <a:pt x="4559" y="865"/>
                  </a:moveTo>
                  <a:lnTo>
                    <a:pt x="4374" y="865"/>
                  </a:lnTo>
                  <a:lnTo>
                    <a:pt x="4374" y="767"/>
                  </a:lnTo>
                  <a:cubicBezTo>
                    <a:pt x="4342" y="830"/>
                    <a:pt x="4280" y="879"/>
                    <a:pt x="4181" y="879"/>
                  </a:cubicBezTo>
                  <a:cubicBezTo>
                    <a:pt x="4062" y="879"/>
                    <a:pt x="3974" y="806"/>
                    <a:pt x="3974" y="650"/>
                  </a:cubicBezTo>
                  <a:lnTo>
                    <a:pt x="3974" y="200"/>
                  </a:lnTo>
                  <a:lnTo>
                    <a:pt x="4161" y="200"/>
                  </a:lnTo>
                  <a:lnTo>
                    <a:pt x="4161" y="622"/>
                  </a:lnTo>
                  <a:cubicBezTo>
                    <a:pt x="4161" y="698"/>
                    <a:pt x="4191" y="734"/>
                    <a:pt x="4257" y="734"/>
                  </a:cubicBezTo>
                  <a:cubicBezTo>
                    <a:pt x="4322" y="734"/>
                    <a:pt x="4374" y="693"/>
                    <a:pt x="4374" y="611"/>
                  </a:cubicBezTo>
                  <a:lnTo>
                    <a:pt x="4374" y="200"/>
                  </a:lnTo>
                  <a:lnTo>
                    <a:pt x="4559" y="200"/>
                  </a:lnTo>
                  <a:lnTo>
                    <a:pt x="4559" y="865"/>
                  </a:lnTo>
                  <a:close/>
                  <a:moveTo>
                    <a:pt x="4694" y="200"/>
                  </a:moveTo>
                  <a:lnTo>
                    <a:pt x="4879" y="200"/>
                  </a:lnTo>
                  <a:lnTo>
                    <a:pt x="4879" y="322"/>
                  </a:lnTo>
                  <a:cubicBezTo>
                    <a:pt x="4919" y="233"/>
                    <a:pt x="4981" y="192"/>
                    <a:pt x="5079" y="192"/>
                  </a:cubicBezTo>
                  <a:lnTo>
                    <a:pt x="5079" y="374"/>
                  </a:lnTo>
                  <a:cubicBezTo>
                    <a:pt x="4953" y="374"/>
                    <a:pt x="4879" y="413"/>
                    <a:pt x="4879" y="523"/>
                  </a:cubicBezTo>
                  <a:lnTo>
                    <a:pt x="4879" y="865"/>
                  </a:lnTo>
                  <a:lnTo>
                    <a:pt x="4694" y="865"/>
                  </a:lnTo>
                  <a:lnTo>
                    <a:pt x="4694" y="200"/>
                  </a:lnTo>
                  <a:close/>
                  <a:moveTo>
                    <a:pt x="5460" y="879"/>
                  </a:moveTo>
                  <a:cubicBezTo>
                    <a:pt x="5268" y="879"/>
                    <a:pt x="5137" y="764"/>
                    <a:pt x="5137" y="543"/>
                  </a:cubicBezTo>
                  <a:lnTo>
                    <a:pt x="5137" y="531"/>
                  </a:lnTo>
                  <a:cubicBezTo>
                    <a:pt x="5137" y="308"/>
                    <a:pt x="5276" y="187"/>
                    <a:pt x="5453" y="187"/>
                  </a:cubicBezTo>
                  <a:cubicBezTo>
                    <a:pt x="5618" y="187"/>
                    <a:pt x="5757" y="279"/>
                    <a:pt x="5757" y="499"/>
                  </a:cubicBezTo>
                  <a:lnTo>
                    <a:pt x="5757" y="579"/>
                  </a:lnTo>
                  <a:lnTo>
                    <a:pt x="5325" y="579"/>
                  </a:lnTo>
                  <a:cubicBezTo>
                    <a:pt x="5333" y="698"/>
                    <a:pt x="5384" y="744"/>
                    <a:pt x="5464" y="744"/>
                  </a:cubicBezTo>
                  <a:cubicBezTo>
                    <a:pt x="5535" y="744"/>
                    <a:pt x="5573" y="706"/>
                    <a:pt x="5585" y="658"/>
                  </a:cubicBezTo>
                  <a:lnTo>
                    <a:pt x="5757" y="658"/>
                  </a:lnTo>
                  <a:cubicBezTo>
                    <a:pt x="5737" y="783"/>
                    <a:pt x="5634" y="879"/>
                    <a:pt x="5460" y="879"/>
                  </a:cubicBezTo>
                  <a:close/>
                  <a:moveTo>
                    <a:pt x="5328" y="456"/>
                  </a:moveTo>
                  <a:lnTo>
                    <a:pt x="5577" y="456"/>
                  </a:lnTo>
                  <a:cubicBezTo>
                    <a:pt x="5573" y="358"/>
                    <a:pt x="5528" y="316"/>
                    <a:pt x="5455" y="316"/>
                  </a:cubicBezTo>
                  <a:cubicBezTo>
                    <a:pt x="5396" y="316"/>
                    <a:pt x="5343" y="348"/>
                    <a:pt x="5328" y="45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" name="Freeform 160">
              <a:extLst>
                <a:ext uri="{FF2B5EF4-FFF2-40B4-BE49-F238E27FC236}">
                  <a16:creationId xmlns:a16="http://schemas.microsoft.com/office/drawing/2014/main" id="{083A9902-9E1D-4509-A352-2DCEAF906F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24738" y="1617663"/>
              <a:ext cx="2105025" cy="431800"/>
            </a:xfrm>
            <a:custGeom>
              <a:avLst/>
              <a:gdLst>
                <a:gd name="T0" fmla="*/ 328 w 5833"/>
                <a:gd name="T1" fmla="*/ 300 h 1191"/>
                <a:gd name="T2" fmla="*/ 184 w 5833"/>
                <a:gd name="T3" fmla="*/ 797 h 1191"/>
                <a:gd name="T4" fmla="*/ 334 w 5833"/>
                <a:gd name="T5" fmla="*/ 960 h 1191"/>
                <a:gd name="T6" fmla="*/ 88 w 5833"/>
                <a:gd name="T7" fmla="*/ 382 h 1191"/>
                <a:gd name="T8" fmla="*/ 88 w 5833"/>
                <a:gd name="T9" fmla="*/ 300 h 1191"/>
                <a:gd name="T10" fmla="*/ 696 w 5833"/>
                <a:gd name="T11" fmla="*/ 975 h 1191"/>
                <a:gd name="T12" fmla="*/ 688 w 5833"/>
                <a:gd name="T13" fmla="*/ 290 h 1191"/>
                <a:gd name="T14" fmla="*/ 508 w 5833"/>
                <a:gd name="T15" fmla="*/ 650 h 1191"/>
                <a:gd name="T16" fmla="*/ 859 w 5833"/>
                <a:gd name="T17" fmla="*/ 778 h 1191"/>
                <a:gd name="T18" fmla="*/ 508 w 5833"/>
                <a:gd name="T19" fmla="*/ 572 h 1191"/>
                <a:gd name="T20" fmla="*/ 688 w 5833"/>
                <a:gd name="T21" fmla="*/ 369 h 1191"/>
                <a:gd name="T22" fmla="*/ 1050 w 5833"/>
                <a:gd name="T23" fmla="*/ 674 h 1191"/>
                <a:gd name="T24" fmla="*/ 1595 w 5833"/>
                <a:gd name="T25" fmla="*/ 510 h 1191"/>
                <a:gd name="T26" fmla="*/ 1148 w 5833"/>
                <a:gd name="T27" fmla="*/ 595 h 1191"/>
                <a:gd name="T28" fmla="*/ 1510 w 5833"/>
                <a:gd name="T29" fmla="*/ 737 h 1191"/>
                <a:gd name="T30" fmla="*/ 1721 w 5833"/>
                <a:gd name="T31" fmla="*/ 0 h 1191"/>
                <a:gd name="T32" fmla="*/ 2012 w 5833"/>
                <a:gd name="T33" fmla="*/ 290 h 1191"/>
                <a:gd name="T34" fmla="*/ 2126 w 5833"/>
                <a:gd name="T35" fmla="*/ 965 h 1191"/>
                <a:gd name="T36" fmla="*/ 1816 w 5833"/>
                <a:gd name="T37" fmla="*/ 539 h 1191"/>
                <a:gd name="T38" fmla="*/ 1721 w 5833"/>
                <a:gd name="T39" fmla="*/ 0 h 1191"/>
                <a:gd name="T40" fmla="*/ 2471 w 5833"/>
                <a:gd name="T41" fmla="*/ 401 h 1191"/>
                <a:gd name="T42" fmla="*/ 2878 w 5833"/>
                <a:gd name="T43" fmla="*/ 965 h 1191"/>
                <a:gd name="T44" fmla="*/ 2640 w 5833"/>
                <a:gd name="T45" fmla="*/ 372 h 1191"/>
                <a:gd name="T46" fmla="*/ 2376 w 5833"/>
                <a:gd name="T47" fmla="*/ 965 h 1191"/>
                <a:gd name="T48" fmla="*/ 3000 w 5833"/>
                <a:gd name="T49" fmla="*/ 594 h 1191"/>
                <a:gd name="T50" fmla="*/ 3580 w 5833"/>
                <a:gd name="T51" fmla="*/ 671 h 1191"/>
                <a:gd name="T52" fmla="*/ 3482 w 5833"/>
                <a:gd name="T53" fmla="*/ 673 h 1191"/>
                <a:gd name="T54" fmla="*/ 3098 w 5833"/>
                <a:gd name="T55" fmla="*/ 594 h 1191"/>
                <a:gd name="T56" fmla="*/ 3482 w 5833"/>
                <a:gd name="T57" fmla="*/ 673 h 1191"/>
                <a:gd name="T58" fmla="*/ 3809 w 5833"/>
                <a:gd name="T59" fmla="*/ 965 h 1191"/>
                <a:gd name="T60" fmla="*/ 3940 w 5833"/>
                <a:gd name="T61" fmla="*/ 673 h 1191"/>
                <a:gd name="T62" fmla="*/ 4520 w 5833"/>
                <a:gd name="T63" fmla="*/ 593 h 1191"/>
                <a:gd name="T64" fmla="*/ 3940 w 5833"/>
                <a:gd name="T65" fmla="*/ 673 h 1191"/>
                <a:gd name="T66" fmla="*/ 4230 w 5833"/>
                <a:gd name="T67" fmla="*/ 369 h 1191"/>
                <a:gd name="T68" fmla="*/ 4230 w 5833"/>
                <a:gd name="T69" fmla="*/ 896 h 1191"/>
                <a:gd name="T70" fmla="*/ 4628 w 5833"/>
                <a:gd name="T71" fmla="*/ 1001 h 1191"/>
                <a:gd name="T72" fmla="*/ 5086 w 5833"/>
                <a:gd name="T73" fmla="*/ 921 h 1191"/>
                <a:gd name="T74" fmla="*/ 4618 w 5833"/>
                <a:gd name="T75" fmla="*/ 660 h 1191"/>
                <a:gd name="T76" fmla="*/ 5086 w 5833"/>
                <a:gd name="T77" fmla="*/ 403 h 1191"/>
                <a:gd name="T78" fmla="*/ 5182 w 5833"/>
                <a:gd name="T79" fmla="*/ 927 h 1191"/>
                <a:gd name="T80" fmla="*/ 5088 w 5833"/>
                <a:gd name="T81" fmla="*/ 584 h 1191"/>
                <a:gd name="T82" fmla="*/ 4715 w 5833"/>
                <a:gd name="T83" fmla="*/ 659 h 1191"/>
                <a:gd name="T84" fmla="*/ 5565 w 5833"/>
                <a:gd name="T85" fmla="*/ 783 h 1191"/>
                <a:gd name="T86" fmla="*/ 5504 w 5833"/>
                <a:gd name="T87" fmla="*/ 1180 h 1191"/>
                <a:gd name="T88" fmla="*/ 5279 w 5833"/>
                <a:gd name="T89" fmla="*/ 300 h 1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833" h="1191">
                  <a:moveTo>
                    <a:pt x="184" y="153"/>
                  </a:moveTo>
                  <a:lnTo>
                    <a:pt x="184" y="300"/>
                  </a:lnTo>
                  <a:lnTo>
                    <a:pt x="328" y="300"/>
                  </a:lnTo>
                  <a:lnTo>
                    <a:pt x="328" y="382"/>
                  </a:lnTo>
                  <a:lnTo>
                    <a:pt x="184" y="382"/>
                  </a:lnTo>
                  <a:lnTo>
                    <a:pt x="184" y="797"/>
                  </a:lnTo>
                  <a:cubicBezTo>
                    <a:pt x="184" y="862"/>
                    <a:pt x="211" y="891"/>
                    <a:pt x="263" y="891"/>
                  </a:cubicBezTo>
                  <a:cubicBezTo>
                    <a:pt x="292" y="891"/>
                    <a:pt x="316" y="887"/>
                    <a:pt x="334" y="880"/>
                  </a:cubicBezTo>
                  <a:lnTo>
                    <a:pt x="334" y="960"/>
                  </a:lnTo>
                  <a:cubicBezTo>
                    <a:pt x="316" y="966"/>
                    <a:pt x="292" y="972"/>
                    <a:pt x="255" y="972"/>
                  </a:cubicBezTo>
                  <a:cubicBezTo>
                    <a:pt x="142" y="972"/>
                    <a:pt x="88" y="907"/>
                    <a:pt x="88" y="806"/>
                  </a:cubicBezTo>
                  <a:lnTo>
                    <a:pt x="88" y="382"/>
                  </a:lnTo>
                  <a:lnTo>
                    <a:pt x="0" y="382"/>
                  </a:lnTo>
                  <a:lnTo>
                    <a:pt x="0" y="300"/>
                  </a:lnTo>
                  <a:lnTo>
                    <a:pt x="88" y="300"/>
                  </a:lnTo>
                  <a:lnTo>
                    <a:pt x="88" y="153"/>
                  </a:lnTo>
                  <a:lnTo>
                    <a:pt x="184" y="153"/>
                  </a:lnTo>
                  <a:close/>
                  <a:moveTo>
                    <a:pt x="696" y="975"/>
                  </a:moveTo>
                  <a:cubicBezTo>
                    <a:pt x="526" y="975"/>
                    <a:pt x="410" y="859"/>
                    <a:pt x="410" y="673"/>
                  </a:cubicBezTo>
                  <a:lnTo>
                    <a:pt x="410" y="595"/>
                  </a:lnTo>
                  <a:cubicBezTo>
                    <a:pt x="410" y="411"/>
                    <a:pt x="523" y="290"/>
                    <a:pt x="688" y="290"/>
                  </a:cubicBezTo>
                  <a:cubicBezTo>
                    <a:pt x="833" y="290"/>
                    <a:pt x="955" y="377"/>
                    <a:pt x="955" y="586"/>
                  </a:cubicBezTo>
                  <a:lnTo>
                    <a:pt x="955" y="650"/>
                  </a:lnTo>
                  <a:lnTo>
                    <a:pt x="508" y="650"/>
                  </a:lnTo>
                  <a:lnTo>
                    <a:pt x="508" y="671"/>
                  </a:lnTo>
                  <a:cubicBezTo>
                    <a:pt x="508" y="820"/>
                    <a:pt x="574" y="896"/>
                    <a:pt x="697" y="896"/>
                  </a:cubicBezTo>
                  <a:cubicBezTo>
                    <a:pt x="791" y="896"/>
                    <a:pt x="846" y="855"/>
                    <a:pt x="859" y="778"/>
                  </a:cubicBezTo>
                  <a:lnTo>
                    <a:pt x="953" y="778"/>
                  </a:lnTo>
                  <a:cubicBezTo>
                    <a:pt x="935" y="909"/>
                    <a:pt x="836" y="975"/>
                    <a:pt x="696" y="975"/>
                  </a:cubicBezTo>
                  <a:close/>
                  <a:moveTo>
                    <a:pt x="508" y="572"/>
                  </a:moveTo>
                  <a:lnTo>
                    <a:pt x="859" y="572"/>
                  </a:lnTo>
                  <a:lnTo>
                    <a:pt x="859" y="558"/>
                  </a:lnTo>
                  <a:cubicBezTo>
                    <a:pt x="855" y="424"/>
                    <a:pt x="789" y="369"/>
                    <a:pt x="688" y="369"/>
                  </a:cubicBezTo>
                  <a:cubicBezTo>
                    <a:pt x="593" y="369"/>
                    <a:pt x="517" y="433"/>
                    <a:pt x="508" y="572"/>
                  </a:cubicBezTo>
                  <a:close/>
                  <a:moveTo>
                    <a:pt x="1340" y="975"/>
                  </a:moveTo>
                  <a:cubicBezTo>
                    <a:pt x="1174" y="975"/>
                    <a:pt x="1050" y="863"/>
                    <a:pt x="1050" y="674"/>
                  </a:cubicBezTo>
                  <a:lnTo>
                    <a:pt x="1050" y="595"/>
                  </a:lnTo>
                  <a:cubicBezTo>
                    <a:pt x="1050" y="408"/>
                    <a:pt x="1177" y="290"/>
                    <a:pt x="1336" y="290"/>
                  </a:cubicBezTo>
                  <a:cubicBezTo>
                    <a:pt x="1466" y="290"/>
                    <a:pt x="1580" y="350"/>
                    <a:pt x="1595" y="510"/>
                  </a:cubicBezTo>
                  <a:lnTo>
                    <a:pt x="1501" y="510"/>
                  </a:lnTo>
                  <a:cubicBezTo>
                    <a:pt x="1490" y="406"/>
                    <a:pt x="1420" y="369"/>
                    <a:pt x="1336" y="369"/>
                  </a:cubicBezTo>
                  <a:cubicBezTo>
                    <a:pt x="1227" y="369"/>
                    <a:pt x="1148" y="453"/>
                    <a:pt x="1148" y="595"/>
                  </a:cubicBezTo>
                  <a:lnTo>
                    <a:pt x="1148" y="674"/>
                  </a:lnTo>
                  <a:cubicBezTo>
                    <a:pt x="1148" y="821"/>
                    <a:pt x="1226" y="896"/>
                    <a:pt x="1340" y="896"/>
                  </a:cubicBezTo>
                  <a:cubicBezTo>
                    <a:pt x="1426" y="896"/>
                    <a:pt x="1502" y="845"/>
                    <a:pt x="1510" y="737"/>
                  </a:cubicBezTo>
                  <a:lnTo>
                    <a:pt x="1599" y="737"/>
                  </a:lnTo>
                  <a:cubicBezTo>
                    <a:pt x="1589" y="882"/>
                    <a:pt x="1485" y="975"/>
                    <a:pt x="1340" y="975"/>
                  </a:cubicBezTo>
                  <a:close/>
                  <a:moveTo>
                    <a:pt x="1721" y="0"/>
                  </a:moveTo>
                  <a:lnTo>
                    <a:pt x="1816" y="0"/>
                  </a:lnTo>
                  <a:lnTo>
                    <a:pt x="1816" y="401"/>
                  </a:lnTo>
                  <a:cubicBezTo>
                    <a:pt x="1844" y="342"/>
                    <a:pt x="1911" y="290"/>
                    <a:pt x="2012" y="290"/>
                  </a:cubicBezTo>
                  <a:cubicBezTo>
                    <a:pt x="2136" y="290"/>
                    <a:pt x="2222" y="360"/>
                    <a:pt x="2222" y="534"/>
                  </a:cubicBezTo>
                  <a:lnTo>
                    <a:pt x="2222" y="965"/>
                  </a:lnTo>
                  <a:lnTo>
                    <a:pt x="2126" y="965"/>
                  </a:lnTo>
                  <a:lnTo>
                    <a:pt x="2126" y="528"/>
                  </a:lnTo>
                  <a:cubicBezTo>
                    <a:pt x="2126" y="421"/>
                    <a:pt x="2082" y="372"/>
                    <a:pt x="1985" y="372"/>
                  </a:cubicBezTo>
                  <a:cubicBezTo>
                    <a:pt x="1895" y="372"/>
                    <a:pt x="1816" y="431"/>
                    <a:pt x="1816" y="539"/>
                  </a:cubicBezTo>
                  <a:lnTo>
                    <a:pt x="1816" y="965"/>
                  </a:lnTo>
                  <a:lnTo>
                    <a:pt x="1721" y="965"/>
                  </a:lnTo>
                  <a:lnTo>
                    <a:pt x="1721" y="0"/>
                  </a:lnTo>
                  <a:close/>
                  <a:moveTo>
                    <a:pt x="2376" y="300"/>
                  </a:moveTo>
                  <a:lnTo>
                    <a:pt x="2471" y="300"/>
                  </a:lnTo>
                  <a:lnTo>
                    <a:pt x="2471" y="401"/>
                  </a:lnTo>
                  <a:cubicBezTo>
                    <a:pt x="2499" y="342"/>
                    <a:pt x="2567" y="290"/>
                    <a:pt x="2667" y="290"/>
                  </a:cubicBezTo>
                  <a:cubicBezTo>
                    <a:pt x="2791" y="290"/>
                    <a:pt x="2878" y="360"/>
                    <a:pt x="2878" y="534"/>
                  </a:cubicBezTo>
                  <a:lnTo>
                    <a:pt x="2878" y="965"/>
                  </a:lnTo>
                  <a:lnTo>
                    <a:pt x="2781" y="965"/>
                  </a:lnTo>
                  <a:lnTo>
                    <a:pt x="2781" y="528"/>
                  </a:lnTo>
                  <a:cubicBezTo>
                    <a:pt x="2781" y="421"/>
                    <a:pt x="2737" y="372"/>
                    <a:pt x="2640" y="372"/>
                  </a:cubicBezTo>
                  <a:cubicBezTo>
                    <a:pt x="2550" y="372"/>
                    <a:pt x="2471" y="431"/>
                    <a:pt x="2471" y="539"/>
                  </a:cubicBezTo>
                  <a:lnTo>
                    <a:pt x="2471" y="965"/>
                  </a:lnTo>
                  <a:lnTo>
                    <a:pt x="2376" y="965"/>
                  </a:lnTo>
                  <a:lnTo>
                    <a:pt x="2376" y="300"/>
                  </a:lnTo>
                  <a:close/>
                  <a:moveTo>
                    <a:pt x="3000" y="673"/>
                  </a:moveTo>
                  <a:lnTo>
                    <a:pt x="3000" y="594"/>
                  </a:lnTo>
                  <a:cubicBezTo>
                    <a:pt x="3000" y="412"/>
                    <a:pt x="3122" y="290"/>
                    <a:pt x="3291" y="290"/>
                  </a:cubicBezTo>
                  <a:cubicBezTo>
                    <a:pt x="3459" y="290"/>
                    <a:pt x="3580" y="410"/>
                    <a:pt x="3580" y="593"/>
                  </a:cubicBezTo>
                  <a:lnTo>
                    <a:pt x="3580" y="671"/>
                  </a:lnTo>
                  <a:cubicBezTo>
                    <a:pt x="3580" y="855"/>
                    <a:pt x="3459" y="975"/>
                    <a:pt x="3289" y="975"/>
                  </a:cubicBezTo>
                  <a:cubicBezTo>
                    <a:pt x="3119" y="975"/>
                    <a:pt x="3000" y="850"/>
                    <a:pt x="3000" y="673"/>
                  </a:cubicBezTo>
                  <a:close/>
                  <a:moveTo>
                    <a:pt x="3482" y="673"/>
                  </a:moveTo>
                  <a:lnTo>
                    <a:pt x="3482" y="595"/>
                  </a:lnTo>
                  <a:cubicBezTo>
                    <a:pt x="3482" y="455"/>
                    <a:pt x="3407" y="369"/>
                    <a:pt x="3291" y="369"/>
                  </a:cubicBezTo>
                  <a:cubicBezTo>
                    <a:pt x="3171" y="369"/>
                    <a:pt x="3098" y="457"/>
                    <a:pt x="3098" y="594"/>
                  </a:cubicBezTo>
                  <a:lnTo>
                    <a:pt x="3098" y="673"/>
                  </a:lnTo>
                  <a:cubicBezTo>
                    <a:pt x="3098" y="808"/>
                    <a:pt x="3170" y="896"/>
                    <a:pt x="3291" y="896"/>
                  </a:cubicBezTo>
                  <a:cubicBezTo>
                    <a:pt x="3409" y="896"/>
                    <a:pt x="3482" y="808"/>
                    <a:pt x="3482" y="673"/>
                  </a:cubicBezTo>
                  <a:close/>
                  <a:moveTo>
                    <a:pt x="3711" y="0"/>
                  </a:moveTo>
                  <a:lnTo>
                    <a:pt x="3809" y="0"/>
                  </a:lnTo>
                  <a:lnTo>
                    <a:pt x="3809" y="965"/>
                  </a:lnTo>
                  <a:lnTo>
                    <a:pt x="3711" y="965"/>
                  </a:lnTo>
                  <a:lnTo>
                    <a:pt x="3711" y="0"/>
                  </a:lnTo>
                  <a:close/>
                  <a:moveTo>
                    <a:pt x="3940" y="673"/>
                  </a:moveTo>
                  <a:lnTo>
                    <a:pt x="3940" y="594"/>
                  </a:lnTo>
                  <a:cubicBezTo>
                    <a:pt x="3940" y="412"/>
                    <a:pt x="4061" y="290"/>
                    <a:pt x="4230" y="290"/>
                  </a:cubicBezTo>
                  <a:cubicBezTo>
                    <a:pt x="4399" y="290"/>
                    <a:pt x="4520" y="410"/>
                    <a:pt x="4520" y="593"/>
                  </a:cubicBezTo>
                  <a:lnTo>
                    <a:pt x="4520" y="671"/>
                  </a:lnTo>
                  <a:cubicBezTo>
                    <a:pt x="4520" y="855"/>
                    <a:pt x="4399" y="975"/>
                    <a:pt x="4229" y="975"/>
                  </a:cubicBezTo>
                  <a:cubicBezTo>
                    <a:pt x="4059" y="975"/>
                    <a:pt x="3940" y="850"/>
                    <a:pt x="3940" y="673"/>
                  </a:cubicBezTo>
                  <a:close/>
                  <a:moveTo>
                    <a:pt x="4422" y="673"/>
                  </a:moveTo>
                  <a:lnTo>
                    <a:pt x="4422" y="595"/>
                  </a:lnTo>
                  <a:cubicBezTo>
                    <a:pt x="4422" y="455"/>
                    <a:pt x="4347" y="369"/>
                    <a:pt x="4230" y="369"/>
                  </a:cubicBezTo>
                  <a:cubicBezTo>
                    <a:pt x="4111" y="369"/>
                    <a:pt x="4037" y="457"/>
                    <a:pt x="4037" y="594"/>
                  </a:cubicBezTo>
                  <a:lnTo>
                    <a:pt x="4037" y="673"/>
                  </a:lnTo>
                  <a:cubicBezTo>
                    <a:pt x="4037" y="808"/>
                    <a:pt x="4110" y="896"/>
                    <a:pt x="4230" y="896"/>
                  </a:cubicBezTo>
                  <a:cubicBezTo>
                    <a:pt x="4348" y="896"/>
                    <a:pt x="4422" y="808"/>
                    <a:pt x="4422" y="673"/>
                  </a:cubicBezTo>
                  <a:close/>
                  <a:moveTo>
                    <a:pt x="4898" y="1191"/>
                  </a:moveTo>
                  <a:cubicBezTo>
                    <a:pt x="4722" y="1191"/>
                    <a:pt x="4642" y="1109"/>
                    <a:pt x="4628" y="1001"/>
                  </a:cubicBezTo>
                  <a:lnTo>
                    <a:pt x="4724" y="1001"/>
                  </a:lnTo>
                  <a:cubicBezTo>
                    <a:pt x="4737" y="1075"/>
                    <a:pt x="4794" y="1111"/>
                    <a:pt x="4897" y="1111"/>
                  </a:cubicBezTo>
                  <a:cubicBezTo>
                    <a:pt x="5014" y="1111"/>
                    <a:pt x="5086" y="1054"/>
                    <a:pt x="5086" y="921"/>
                  </a:cubicBezTo>
                  <a:lnTo>
                    <a:pt x="5086" y="826"/>
                  </a:lnTo>
                  <a:cubicBezTo>
                    <a:pt x="5052" y="888"/>
                    <a:pt x="4973" y="946"/>
                    <a:pt x="4882" y="946"/>
                  </a:cubicBezTo>
                  <a:cubicBezTo>
                    <a:pt x="4727" y="946"/>
                    <a:pt x="4618" y="833"/>
                    <a:pt x="4618" y="660"/>
                  </a:cubicBezTo>
                  <a:lnTo>
                    <a:pt x="4618" y="585"/>
                  </a:lnTo>
                  <a:cubicBezTo>
                    <a:pt x="4618" y="416"/>
                    <a:pt x="4728" y="290"/>
                    <a:pt x="4889" y="290"/>
                  </a:cubicBezTo>
                  <a:cubicBezTo>
                    <a:pt x="4991" y="290"/>
                    <a:pt x="5053" y="341"/>
                    <a:pt x="5086" y="403"/>
                  </a:cubicBezTo>
                  <a:lnTo>
                    <a:pt x="5086" y="300"/>
                  </a:lnTo>
                  <a:lnTo>
                    <a:pt x="5182" y="300"/>
                  </a:lnTo>
                  <a:lnTo>
                    <a:pt x="5182" y="927"/>
                  </a:lnTo>
                  <a:cubicBezTo>
                    <a:pt x="5182" y="1106"/>
                    <a:pt x="5066" y="1191"/>
                    <a:pt x="4898" y="1191"/>
                  </a:cubicBezTo>
                  <a:close/>
                  <a:moveTo>
                    <a:pt x="5088" y="652"/>
                  </a:moveTo>
                  <a:lnTo>
                    <a:pt x="5088" y="584"/>
                  </a:lnTo>
                  <a:cubicBezTo>
                    <a:pt x="5088" y="448"/>
                    <a:pt x="5018" y="369"/>
                    <a:pt x="4901" y="369"/>
                  </a:cubicBezTo>
                  <a:cubicBezTo>
                    <a:pt x="4784" y="369"/>
                    <a:pt x="4715" y="453"/>
                    <a:pt x="4715" y="582"/>
                  </a:cubicBezTo>
                  <a:lnTo>
                    <a:pt x="4715" y="659"/>
                  </a:lnTo>
                  <a:cubicBezTo>
                    <a:pt x="4715" y="793"/>
                    <a:pt x="4793" y="866"/>
                    <a:pt x="4895" y="866"/>
                  </a:cubicBezTo>
                  <a:cubicBezTo>
                    <a:pt x="5006" y="866"/>
                    <a:pt x="5088" y="788"/>
                    <a:pt x="5088" y="652"/>
                  </a:cubicBezTo>
                  <a:close/>
                  <a:moveTo>
                    <a:pt x="5565" y="783"/>
                  </a:moveTo>
                  <a:lnTo>
                    <a:pt x="5734" y="300"/>
                  </a:lnTo>
                  <a:lnTo>
                    <a:pt x="5833" y="300"/>
                  </a:lnTo>
                  <a:lnTo>
                    <a:pt x="5504" y="1180"/>
                  </a:lnTo>
                  <a:lnTo>
                    <a:pt x="5408" y="1180"/>
                  </a:lnTo>
                  <a:lnTo>
                    <a:pt x="5514" y="899"/>
                  </a:lnTo>
                  <a:lnTo>
                    <a:pt x="5279" y="300"/>
                  </a:lnTo>
                  <a:lnTo>
                    <a:pt x="5381" y="300"/>
                  </a:lnTo>
                  <a:lnTo>
                    <a:pt x="5565" y="78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5D0D3C2E-FC67-47ED-90E0-E797B7CC0FB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-1562798" y="2830495"/>
            <a:ext cx="14573948" cy="59869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0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908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1C9FD23D-30E8-435F-86B9-25D5CCD17D0A}"/>
              </a:ext>
            </a:extLst>
          </p:cNvPr>
          <p:cNvGrpSpPr/>
          <p:nvPr userDrawn="1"/>
        </p:nvGrpSpPr>
        <p:grpSpPr>
          <a:xfrm>
            <a:off x="3677758" y="1969639"/>
            <a:ext cx="5395287" cy="5514533"/>
            <a:chOff x="6420958" y="734291"/>
            <a:chExt cx="5395287" cy="5514533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7C7ADC2A-49DD-407B-B29B-36A2D87E9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2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id="{6A41381F-91AB-427E-AA9F-3CFA7053E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561743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46904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52845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65155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800000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03276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5456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_A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90FCA241-5040-4D25-BBE2-CD48119E38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304" name="Acc_CoreBrand_Logo_Black_Purple" hidden="1">
            <a:extLst>
              <a:ext uri="{FF2B5EF4-FFF2-40B4-BE49-F238E27FC236}">
                <a16:creationId xmlns:a16="http://schemas.microsoft.com/office/drawing/2014/main" id="{079A257B-549F-4450-95A9-7265440209B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8"/>
          </a:xfrm>
          <a:prstGeom prst="rect">
            <a:avLst/>
          </a:prstGeom>
        </p:spPr>
      </p:pic>
      <p:sp>
        <p:nvSpPr>
          <p:cNvPr id="22" name="Subtitle (3rd Level)">
            <a:extLst>
              <a:ext uri="{FF2B5EF4-FFF2-40B4-BE49-F238E27FC236}">
                <a16:creationId xmlns:a16="http://schemas.microsoft.com/office/drawing/2014/main" id="{BA2A4EF5-0A5E-4F4F-B044-8D91FBC4F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3" name="Long Subline">
            <a:extLst>
              <a:ext uri="{FF2B5EF4-FFF2-40B4-BE49-F238E27FC236}">
                <a16:creationId xmlns:a16="http://schemas.microsoft.com/office/drawing/2014/main" id="{460327B0-353D-46AA-B54E-5179542E68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4" name="MasterTitle">
            <a:extLst>
              <a:ext uri="{FF2B5EF4-FFF2-40B4-BE49-F238E27FC236}">
                <a16:creationId xmlns:a16="http://schemas.microsoft.com/office/drawing/2014/main" id="{46C97AB3-E801-482B-8A1C-5A2635F083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6" name="Acc_Applied_Intell_Wordmark_BLK Colour Positive">
            <a:extLst>
              <a:ext uri="{FF2B5EF4-FFF2-40B4-BE49-F238E27FC236}">
                <a16:creationId xmlns:a16="http://schemas.microsoft.com/office/drawing/2014/main" id="{DC6B255F-406F-4DDF-AEBB-6289DF8A006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biLevel thresh="75000"/>
          </a:blip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064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38050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0C63E5-5D21-47D3-BF0D-57C09B984129}"/>
              </a:ext>
            </a:extLst>
          </p:cNvPr>
          <p:cNvSpPr txBox="1"/>
          <p:nvPr userDrawn="1"/>
        </p:nvSpPr>
        <p:spPr>
          <a:xfrm>
            <a:off x="380999" y="6617410"/>
            <a:ext cx="2727325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1">
                    <a:lumMod val="65000"/>
                  </a:schemeClr>
                </a:solidFill>
              </a:rPr>
              <a:t>Copyright © 2019 Accenture. All rights reserved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B2E99D-B14D-4A4A-866D-4CF62FB5E126}"/>
              </a:ext>
            </a:extLst>
          </p:cNvPr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90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4910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65A2222E-6F06-403F-9BB7-59C622079F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8" t="-21" r="4418" b="8857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Subtitle (3rd Level)">
            <a:extLst>
              <a:ext uri="{FF2B5EF4-FFF2-40B4-BE49-F238E27FC236}">
                <a16:creationId xmlns:a16="http://schemas.microsoft.com/office/drawing/2014/main" id="{638DF190-7DA4-4BBC-AA6D-B54B5EC64B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7" name="Long Subline">
            <a:extLst>
              <a:ext uri="{FF2B5EF4-FFF2-40B4-BE49-F238E27FC236}">
                <a16:creationId xmlns:a16="http://schemas.microsoft.com/office/drawing/2014/main" id="{2FAE2CC9-E3B2-41E2-A79F-D61C5EF558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9" name="MasterTitle">
            <a:extLst>
              <a:ext uri="{FF2B5EF4-FFF2-40B4-BE49-F238E27FC236}">
                <a16:creationId xmlns:a16="http://schemas.microsoft.com/office/drawing/2014/main" id="{AC147F59-5E8B-4627-A563-B72519E77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28" name="Acc_Applied_Intell_Wordmark_BLK Colour Positive">
            <a:extLst>
              <a:ext uri="{FF2B5EF4-FFF2-40B4-BE49-F238E27FC236}">
                <a16:creationId xmlns:a16="http://schemas.microsoft.com/office/drawing/2014/main" id="{19075430-4F64-4069-B75C-0CFF8B5627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biLevel thresh="75000"/>
          </a:blip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859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_A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BCA54501-3213-484C-A670-51CB69C413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1" b="61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92" name="Acc_CoreBrand_GTS_Dimensional" hidden="1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5617" y="913419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304" name="Acc_CoreBrand_Logo_Black_Purple" hidden="1">
            <a:extLst>
              <a:ext uri="{FF2B5EF4-FFF2-40B4-BE49-F238E27FC236}">
                <a16:creationId xmlns:a16="http://schemas.microsoft.com/office/drawing/2014/main" id="{079A257B-549F-4450-95A9-7265440209B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739" y="374650"/>
            <a:ext cx="1663200" cy="445738"/>
          </a:xfrm>
          <a:prstGeom prst="rect">
            <a:avLst/>
          </a:prstGeom>
        </p:spPr>
      </p:pic>
      <p:sp>
        <p:nvSpPr>
          <p:cNvPr id="20" name="Subtitle (3rd Level)">
            <a:extLst>
              <a:ext uri="{FF2B5EF4-FFF2-40B4-BE49-F238E27FC236}">
                <a16:creationId xmlns:a16="http://schemas.microsoft.com/office/drawing/2014/main" id="{D4688A87-6374-4FEF-B878-C60AC8E6B6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1" name="Long Subline">
            <a:extLst>
              <a:ext uri="{FF2B5EF4-FFF2-40B4-BE49-F238E27FC236}">
                <a16:creationId xmlns:a16="http://schemas.microsoft.com/office/drawing/2014/main" id="{B3FEE09D-8573-438B-9DA5-B6D9F9C559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2" name="MasterTitle">
            <a:extLst>
              <a:ext uri="{FF2B5EF4-FFF2-40B4-BE49-F238E27FC236}">
                <a16:creationId xmlns:a16="http://schemas.microsoft.com/office/drawing/2014/main" id="{A5FE72C4-8613-4C59-9FE2-9538E5031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  <p:pic>
        <p:nvPicPr>
          <p:cNvPr id="17" name="Acc_Applied_Intell_Wordmark_BLK Colour Positive">
            <a:extLst>
              <a:ext uri="{FF2B5EF4-FFF2-40B4-BE49-F238E27FC236}">
                <a16:creationId xmlns:a16="http://schemas.microsoft.com/office/drawing/2014/main" id="{BD88DD9C-710C-40A6-B14E-984157A75D1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biLevel thresh="75000"/>
          </a:blip>
          <a:stretch>
            <a:fillRect/>
          </a:stretch>
        </p:blipFill>
        <p:spPr>
          <a:xfrm>
            <a:off x="1461439" y="716491"/>
            <a:ext cx="4885196" cy="34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087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21" name="Acc_CoreBrand_Logo_Black_Purple">
            <a:extLst>
              <a:ext uri="{FF2B5EF4-FFF2-40B4-BE49-F238E27FC236}">
                <a16:creationId xmlns:a16="http://schemas.microsoft.com/office/drawing/2014/main" id="{FAB30264-1DB0-444E-8439-97B7E1F8977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  <p:sp>
        <p:nvSpPr>
          <p:cNvPr id="22" name="Subtitle (3rd Level)">
            <a:extLst>
              <a:ext uri="{FF2B5EF4-FFF2-40B4-BE49-F238E27FC236}">
                <a16:creationId xmlns:a16="http://schemas.microsoft.com/office/drawing/2014/main" id="{62B5990A-9798-4C41-BD4F-8886FBFEB4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3" name="Long Subline">
            <a:extLst>
              <a:ext uri="{FF2B5EF4-FFF2-40B4-BE49-F238E27FC236}">
                <a16:creationId xmlns:a16="http://schemas.microsoft.com/office/drawing/2014/main" id="{0EB69C56-7B40-45A9-8988-D7B9D4782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4" name="MasterTitle">
            <a:extLst>
              <a:ext uri="{FF2B5EF4-FFF2-40B4-BE49-F238E27FC236}">
                <a16:creationId xmlns:a16="http://schemas.microsoft.com/office/drawing/2014/main" id="{471BDF8D-36DA-4683-8BF6-42B61466AE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44779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_Master 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" name="Acc_Digital_GTS_Dimensional" hidden="1">
            <a:extLst>
              <a:ext uri="{FF2B5EF4-FFF2-40B4-BE49-F238E27FC236}">
                <a16:creationId xmlns:a16="http://schemas.microsoft.com/office/drawing/2014/main" id="{1CDEFD3E-D011-491D-8FF0-FAAD0D1DA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6417" y="912059"/>
            <a:ext cx="4313143" cy="4528800"/>
          </a:xfrm>
          <a:prstGeom prst="rect">
            <a:avLst/>
          </a:prstGeom>
        </p:spPr>
      </p:pic>
      <p:pic>
        <p:nvPicPr>
          <p:cNvPr id="257" name="Acc_Applied_Intell_Wordmark_ALL_WHT" hidden="1">
            <a:extLst>
              <a:ext uri="{FF2B5EF4-FFF2-40B4-BE49-F238E27FC236}">
                <a16:creationId xmlns:a16="http://schemas.microsoft.com/office/drawing/2014/main" id="{E041CD07-16D8-4747-BB54-EC93BB2E87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2313" y="537825"/>
            <a:ext cx="4884592" cy="338013"/>
          </a:xfrm>
          <a:prstGeom prst="rect">
            <a:avLst/>
          </a:prstGeom>
        </p:spPr>
      </p:pic>
      <p:pic>
        <p:nvPicPr>
          <p:cNvPr id="258" name="Acc_Applied_Intell_Wordmark_ALL_BLK" hidden="1">
            <a:extLst>
              <a:ext uri="{FF2B5EF4-FFF2-40B4-BE49-F238E27FC236}">
                <a16:creationId xmlns:a16="http://schemas.microsoft.com/office/drawing/2014/main" id="{F1050526-20CD-415A-BF68-8D06F41D30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2314" y="537825"/>
            <a:ext cx="4884595" cy="338014"/>
          </a:xfrm>
          <a:prstGeom prst="rect">
            <a:avLst/>
          </a:prstGeom>
        </p:spPr>
      </p:pic>
      <p:pic>
        <p:nvPicPr>
          <p:cNvPr id="259" name="Acc_Applied_Intell_Wordmark_WHT Colour Reversed" hidden="1">
            <a:extLst>
              <a:ext uri="{FF2B5EF4-FFF2-40B4-BE49-F238E27FC236}">
                <a16:creationId xmlns:a16="http://schemas.microsoft.com/office/drawing/2014/main" id="{153B4086-5DDF-40BF-A48F-C6D35A160D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2313" y="536683"/>
            <a:ext cx="4885200" cy="340009"/>
          </a:xfrm>
          <a:prstGeom prst="rect">
            <a:avLst/>
          </a:prstGeom>
        </p:spPr>
      </p:pic>
      <p:pic>
        <p:nvPicPr>
          <p:cNvPr id="260" name="Acc_Applied_Intell_Wordmark_BLK Colour Positive" hidden="1">
            <a:extLst>
              <a:ext uri="{FF2B5EF4-FFF2-40B4-BE49-F238E27FC236}">
                <a16:creationId xmlns:a16="http://schemas.microsoft.com/office/drawing/2014/main" id="{7C628039-844B-4270-9649-C5679BFC04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7077" y="530394"/>
            <a:ext cx="4885196" cy="347826"/>
          </a:xfrm>
          <a:prstGeom prst="rect">
            <a:avLst/>
          </a:prstGeom>
        </p:spPr>
      </p:pic>
      <p:pic>
        <p:nvPicPr>
          <p:cNvPr id="292" name="Acc_CoreBrand_GTS_Dimensional">
            <a:extLst>
              <a:ext uri="{FF2B5EF4-FFF2-40B4-BE49-F238E27FC236}">
                <a16:creationId xmlns:a16="http://schemas.microsoft.com/office/drawing/2014/main" id="{F7DAA011-51F1-4317-92D4-329036D5F9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5617" y="1314602"/>
            <a:ext cx="4320000" cy="4536000"/>
          </a:xfrm>
          <a:prstGeom prst="rect">
            <a:avLst/>
          </a:prstGeom>
        </p:spPr>
      </p:pic>
      <p:pic>
        <p:nvPicPr>
          <p:cNvPr id="301" name="Acc_CoreBrand_Logo_White" hidden="1">
            <a:extLst>
              <a:ext uri="{FF2B5EF4-FFF2-40B4-BE49-F238E27FC236}">
                <a16:creationId xmlns:a16="http://schemas.microsoft.com/office/drawing/2014/main" id="{4B901D09-AFB0-4BD8-ADB1-D3EB212EFF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2" name="Acc_CoreBrand_Logo_Black" hidden="1">
            <a:extLst>
              <a:ext uri="{FF2B5EF4-FFF2-40B4-BE49-F238E27FC236}">
                <a16:creationId xmlns:a16="http://schemas.microsoft.com/office/drawing/2014/main" id="{74E6D576-A8C4-4BFE-BD7F-4F45F8994C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51739" y="377883"/>
            <a:ext cx="1663200" cy="439272"/>
          </a:xfrm>
          <a:prstGeom prst="rect">
            <a:avLst/>
          </a:prstGeom>
        </p:spPr>
      </p:pic>
      <p:pic>
        <p:nvPicPr>
          <p:cNvPr id="303" name="Acc_CoreBrand_Logo_Black_Purple Reversed" hidden="1">
            <a:extLst>
              <a:ext uri="{FF2B5EF4-FFF2-40B4-BE49-F238E27FC236}">
                <a16:creationId xmlns:a16="http://schemas.microsoft.com/office/drawing/2014/main" id="{2842C046-10B4-4647-8C9E-0AEFEC5EA0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1739" y="374650"/>
            <a:ext cx="1663200" cy="445737"/>
          </a:xfrm>
          <a:prstGeom prst="rect">
            <a:avLst/>
          </a:prstGeom>
        </p:spPr>
      </p:pic>
      <p:pic>
        <p:nvPicPr>
          <p:cNvPr id="21" name="Acc_CoreBrand_Logo_Black_Purple">
            <a:extLst>
              <a:ext uri="{FF2B5EF4-FFF2-40B4-BE49-F238E27FC236}">
                <a16:creationId xmlns:a16="http://schemas.microsoft.com/office/drawing/2014/main" id="{FAB30264-1DB0-444E-8439-97B7E1F89775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461439" y="556663"/>
            <a:ext cx="1663200" cy="445738"/>
          </a:xfrm>
          <a:prstGeom prst="rect">
            <a:avLst/>
          </a:prstGeom>
        </p:spPr>
      </p:pic>
      <p:sp>
        <p:nvSpPr>
          <p:cNvPr id="22" name="Subtitle (3rd Level)">
            <a:extLst>
              <a:ext uri="{FF2B5EF4-FFF2-40B4-BE49-F238E27FC236}">
                <a16:creationId xmlns:a16="http://schemas.microsoft.com/office/drawing/2014/main" id="{62B5990A-9798-4C41-BD4F-8886FBFEB4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4367" y="5825518"/>
            <a:ext cx="5947200" cy="2492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buNone/>
              <a:defRPr sz="18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third level</a:t>
            </a:r>
          </a:p>
        </p:txBody>
      </p:sp>
      <p:sp>
        <p:nvSpPr>
          <p:cNvPr id="23" name="Long Subline">
            <a:extLst>
              <a:ext uri="{FF2B5EF4-FFF2-40B4-BE49-F238E27FC236}">
                <a16:creationId xmlns:a16="http://schemas.microsoft.com/office/drawing/2014/main" id="{0EB69C56-7B40-45A9-8988-D7B9D4782D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74368" y="5046962"/>
            <a:ext cx="5947459" cy="6647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90000"/>
              </a:lnSpc>
              <a:buNone/>
              <a:defRPr sz="24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ng subline or second-level text to go with primary headlines</a:t>
            </a:r>
          </a:p>
        </p:txBody>
      </p:sp>
      <p:sp>
        <p:nvSpPr>
          <p:cNvPr id="24" name="MasterTitle">
            <a:extLst>
              <a:ext uri="{FF2B5EF4-FFF2-40B4-BE49-F238E27FC236}">
                <a16:creationId xmlns:a16="http://schemas.microsoft.com/office/drawing/2014/main" id="{471BDF8D-36DA-4683-8BF6-42B61466AE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973" y="1944290"/>
            <a:ext cx="6007183" cy="2969420"/>
          </a:xfrm>
        </p:spPr>
        <p:txBody>
          <a:bodyPr tIns="252000" anchor="ctr"/>
          <a:lstStyle>
            <a:lvl1pPr>
              <a:lnSpc>
                <a:spcPct val="70000"/>
              </a:lnSpc>
              <a:defRPr sz="8100" cap="all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369945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7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6398B6-6443-4D67-A365-3AF9C47C4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589" y="331125"/>
            <a:ext cx="10028239" cy="777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FFFA29-D1E3-47B0-8A22-1D402B88F9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9724" y="1768475"/>
            <a:ext cx="11514090" cy="4287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C7366250-C716-4622-9FDF-F0CDABBF6C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23200" y="6382054"/>
            <a:ext cx="4114800" cy="1635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AU"/>
              <a:t>Copyright © 2019 Accenture. All rights reserved.</a:t>
            </a:r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655D4237-A081-4F4B-BD2C-FD71F14FF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5945" y="6382054"/>
            <a:ext cx="235945" cy="1635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10224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739" r:id="rId2"/>
    <p:sldLayoutId id="2147483720" r:id="rId3"/>
    <p:sldLayoutId id="2147483714" r:id="rId4"/>
    <p:sldLayoutId id="2147483736" r:id="rId5"/>
    <p:sldLayoutId id="2147483733" r:id="rId6"/>
    <p:sldLayoutId id="2147483726" r:id="rId7"/>
    <p:sldLayoutId id="2147483650" r:id="rId8"/>
    <p:sldLayoutId id="2147483734" r:id="rId9"/>
    <p:sldLayoutId id="2147483719" r:id="rId10"/>
    <p:sldLayoutId id="2147483713" r:id="rId11"/>
    <p:sldLayoutId id="2147483737" r:id="rId12"/>
    <p:sldLayoutId id="2147483732" r:id="rId13"/>
    <p:sldLayoutId id="2147483727" r:id="rId14"/>
    <p:sldLayoutId id="2147483725" r:id="rId15"/>
    <p:sldLayoutId id="2147483656" r:id="rId16"/>
    <p:sldLayoutId id="2147483657" r:id="rId17"/>
    <p:sldLayoutId id="2147483658" r:id="rId18"/>
    <p:sldLayoutId id="2147483659" r:id="rId19"/>
    <p:sldLayoutId id="2147483660" r:id="rId20"/>
    <p:sldLayoutId id="2147483661" r:id="rId21"/>
    <p:sldLayoutId id="2147483662" r:id="rId22"/>
    <p:sldLayoutId id="2147483663" r:id="rId23"/>
    <p:sldLayoutId id="2147483664" r:id="rId24"/>
    <p:sldLayoutId id="2147483665" r:id="rId25"/>
    <p:sldLayoutId id="2147483666" r:id="rId26"/>
    <p:sldLayoutId id="2147483667" r:id="rId27"/>
    <p:sldLayoutId id="2147483712" r:id="rId28"/>
    <p:sldLayoutId id="2147483668" r:id="rId29"/>
    <p:sldLayoutId id="2147483669" r:id="rId30"/>
    <p:sldLayoutId id="2147483680" r:id="rId31"/>
    <p:sldLayoutId id="2147483671" r:id="rId32"/>
    <p:sldLayoutId id="2147483672" r:id="rId33"/>
    <p:sldLayoutId id="2147483673" r:id="rId34"/>
    <p:sldLayoutId id="2147483676" r:id="rId35"/>
    <p:sldLayoutId id="2147483677" r:id="rId36"/>
    <p:sldLayoutId id="2147483678" r:id="rId37"/>
    <p:sldLayoutId id="2147483731" r:id="rId38"/>
    <p:sldLayoutId id="2147483735" r:id="rId39"/>
    <p:sldLayoutId id="2147483674" r:id="rId40"/>
    <p:sldLayoutId id="2147483710" r:id="rId41"/>
    <p:sldLayoutId id="2147483738" r:id="rId42"/>
    <p:sldLayoutId id="2147483752" r:id="rId43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3600" indent="-1800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0" userDrawn="1">
          <p15:clr>
            <a:srgbClr val="F26B43"/>
          </p15:clr>
        </p15:guide>
        <p15:guide id="2" pos="214" userDrawn="1">
          <p15:clr>
            <a:srgbClr val="F26B43"/>
          </p15:clr>
        </p15:guide>
        <p15:guide id="3" pos="924" userDrawn="1">
          <p15:clr>
            <a:srgbClr val="F26B43"/>
          </p15:clr>
        </p15:guide>
        <p15:guide id="4" pos="1150" userDrawn="1">
          <p15:clr>
            <a:srgbClr val="F26B43"/>
          </p15:clr>
        </p15:guide>
        <p15:guide id="5" pos="1860" userDrawn="1">
          <p15:clr>
            <a:srgbClr val="F26B43"/>
          </p15:clr>
        </p15:guide>
        <p15:guide id="6" pos="2084" userDrawn="1">
          <p15:clr>
            <a:srgbClr val="F26B43"/>
          </p15:clr>
        </p15:guide>
        <p15:guide id="7" pos="2794" userDrawn="1">
          <p15:clr>
            <a:srgbClr val="F26B43"/>
          </p15:clr>
        </p15:guide>
        <p15:guide id="8" pos="3021" userDrawn="1">
          <p15:clr>
            <a:srgbClr val="F26B43"/>
          </p15:clr>
        </p15:guide>
        <p15:guide id="9" pos="3729" userDrawn="1">
          <p15:clr>
            <a:srgbClr val="F26B43"/>
          </p15:clr>
        </p15:guide>
        <p15:guide id="10" pos="3953" userDrawn="1">
          <p15:clr>
            <a:srgbClr val="F26B43"/>
          </p15:clr>
        </p15:guide>
        <p15:guide id="11" pos="4662" userDrawn="1">
          <p15:clr>
            <a:srgbClr val="F26B43"/>
          </p15:clr>
        </p15:guide>
        <p15:guide id="12" pos="4887" userDrawn="1">
          <p15:clr>
            <a:srgbClr val="F26B43"/>
          </p15:clr>
        </p15:guide>
        <p15:guide id="13" pos="5596" userDrawn="1">
          <p15:clr>
            <a:srgbClr val="F26B43"/>
          </p15:clr>
        </p15:guide>
        <p15:guide id="14" pos="5822" userDrawn="1">
          <p15:clr>
            <a:srgbClr val="F26B43"/>
          </p15:clr>
        </p15:guide>
        <p15:guide id="15" pos="6531" userDrawn="1">
          <p15:clr>
            <a:srgbClr val="F26B43"/>
          </p15:clr>
        </p15:guide>
        <p15:guide id="16" pos="6760" userDrawn="1">
          <p15:clr>
            <a:srgbClr val="F26B43"/>
          </p15:clr>
        </p15:guide>
        <p15:guide id="17" pos="7467" userDrawn="1">
          <p15:clr>
            <a:srgbClr val="F26B43"/>
          </p15:clr>
        </p15:guide>
        <p15:guide id="18" orient="horz" pos="4107" userDrawn="1">
          <p15:clr>
            <a:srgbClr val="F26B43"/>
          </p15:clr>
        </p15:guide>
        <p15:guide id="19" orient="horz" pos="3815" userDrawn="1">
          <p15:clr>
            <a:srgbClr val="F26B43"/>
          </p15:clr>
        </p15:guide>
        <p15:guide id="20" orient="horz" pos="2614" userDrawn="1">
          <p15:clr>
            <a:srgbClr val="F26B43"/>
          </p15:clr>
        </p15:guide>
        <p15:guide id="21" orient="horz" pos="1114" userDrawn="1">
          <p15:clr>
            <a:srgbClr val="F26B43"/>
          </p15:clr>
        </p15:guide>
        <p15:guide id="22" orient="horz" pos="210" userDrawn="1">
          <p15:clr>
            <a:srgbClr val="F26B43"/>
          </p15:clr>
        </p15:guide>
        <p15:guide id="23" pos="423" userDrawn="1">
          <p15:clr>
            <a:srgbClr val="F26B43"/>
          </p15:clr>
        </p15:guide>
        <p15:guide id="24" orient="horz" pos="454" userDrawn="1">
          <p15:clr>
            <a:srgbClr val="F26B43"/>
          </p15:clr>
        </p15:guide>
        <p15:guide id="25" pos="725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11430000" cy="93358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81000" y="6617410"/>
            <a:ext cx="271780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19 Accenture. All rights reserved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en-US" sz="9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287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accent2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177800" indent="-17780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•"/>
        <a:defRPr sz="2000" b="0" kern="1200" cap="none" baseline="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1pPr>
      <a:lvl2pPr marL="361950" indent="-184150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2pPr>
      <a:lvl3pPr marL="536575" indent="-174625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>
          <p15:clr>
            <a:srgbClr val="F26B43"/>
          </p15:clr>
        </p15:guide>
        <p15:guide id="9" pos="240">
          <p15:clr>
            <a:srgbClr val="F26B43"/>
          </p15:clr>
        </p15:guide>
        <p15:guide id="11" pos="38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020">
          <p15:clr>
            <a:srgbClr val="F26B43"/>
          </p15:clr>
        </p15:guide>
        <p15:guide id="18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4" Type="http://schemas.openxmlformats.org/officeDocument/2006/relationships/hyperlink" Target="https://docs.microsoft.com/en-us/learn/modules/introduction-power-bi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ourworldindata.org/coronavirus-source-data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836CCF-8E22-441B-A023-52826141B3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607300" y="6276979"/>
            <a:ext cx="2170875" cy="249299"/>
          </a:xfrm>
        </p:spPr>
        <p:txBody>
          <a:bodyPr/>
          <a:lstStyle/>
          <a:p>
            <a:r>
              <a:rPr lang="en-US" sz="1800" b="1" dirty="0">
                <a:latin typeface="+mn-lt"/>
              </a:rPr>
              <a:t>12 October 2020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6DA3E76-776D-45B6-9582-5D7A6627A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7957" y="1944290"/>
            <a:ext cx="7958640" cy="2969420"/>
          </a:xfrm>
        </p:spPr>
        <p:txBody>
          <a:bodyPr/>
          <a:lstStyle/>
          <a:p>
            <a:r>
              <a:rPr lang="en-US" sz="5400" dirty="0"/>
              <a:t>Data &amp; ai</a:t>
            </a:r>
            <a:br>
              <a:rPr lang="en-US" sz="5400" dirty="0"/>
            </a:br>
            <a:r>
              <a:rPr lang="en-US" sz="5400" dirty="0"/>
              <a:t>Power BI use case</a:t>
            </a:r>
          </a:p>
        </p:txBody>
      </p:sp>
    </p:spTree>
    <p:extLst>
      <p:ext uri="{BB962C8B-B14F-4D97-AF65-F5344CB8AC3E}">
        <p14:creationId xmlns:p14="http://schemas.microsoft.com/office/powerpoint/2010/main" val="13836170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86F1555-68B0-49DE-A288-5BAC462A6FB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1000" y="1412875"/>
            <a:ext cx="11430000" cy="304699"/>
          </a:xfrm>
        </p:spPr>
        <p:txBody>
          <a:bodyPr/>
          <a:lstStyle/>
          <a:p>
            <a:r>
              <a:rPr lang="en-US" dirty="0"/>
              <a:t>Use of Power BI 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A1214A9A-9073-4D3B-938F-B7ED3A1C5323}"/>
              </a:ext>
            </a:extLst>
          </p:cNvPr>
          <p:cNvSpPr txBox="1">
            <a:spLocks/>
          </p:cNvSpPr>
          <p:nvPr/>
        </p:nvSpPr>
        <p:spPr>
          <a:xfrm>
            <a:off x="381000" y="2087122"/>
            <a:ext cx="7725032" cy="4647426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en-US" b="1" dirty="0"/>
              <a:t>Power Query</a:t>
            </a:r>
          </a:p>
          <a:p>
            <a:pPr lvl="1">
              <a:lnSpc>
                <a:spcPct val="150000"/>
              </a:lnSpc>
              <a:spcBef>
                <a:spcPts val="600"/>
              </a:spcBef>
            </a:pPr>
            <a:r>
              <a:rPr lang="en-US" sz="1600" b="1" dirty="0"/>
              <a:t>Add your data </a:t>
            </a:r>
          </a:p>
          <a:p>
            <a:pPr lvl="1">
              <a:lnSpc>
                <a:spcPct val="150000"/>
              </a:lnSpc>
              <a:spcBef>
                <a:spcPts val="600"/>
              </a:spcBef>
            </a:pPr>
            <a:r>
              <a:rPr lang="fr-FR" sz="1600" b="1" dirty="0"/>
              <a:t>Multiple data sources</a:t>
            </a:r>
            <a:r>
              <a:rPr lang="fr-FR" sz="1600" dirty="0"/>
              <a:t>: Excel files, SQL Server </a:t>
            </a:r>
            <a:r>
              <a:rPr lang="fr-FR" sz="1600" dirty="0" err="1"/>
              <a:t>database</a:t>
            </a:r>
            <a:r>
              <a:rPr lang="fr-FR" sz="1600" dirty="0"/>
              <a:t>, CSV-files, …</a:t>
            </a:r>
            <a:endParaRPr lang="en-US" sz="1600" b="1" dirty="0"/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en-US" b="1" dirty="0"/>
              <a:t>Power Pivot:</a:t>
            </a:r>
          </a:p>
          <a:p>
            <a:pPr lvl="1">
              <a:lnSpc>
                <a:spcPct val="150000"/>
              </a:lnSpc>
              <a:spcBef>
                <a:spcPts val="600"/>
              </a:spcBef>
            </a:pPr>
            <a:r>
              <a:rPr lang="en-US" sz="1600" b="1" dirty="0"/>
              <a:t>Create a relational data model</a:t>
            </a:r>
          </a:p>
          <a:p>
            <a:pPr lvl="1">
              <a:lnSpc>
                <a:spcPct val="150000"/>
              </a:lnSpc>
              <a:spcBef>
                <a:spcPts val="600"/>
              </a:spcBef>
            </a:pPr>
            <a:r>
              <a:rPr lang="en-US" sz="1600" b="1" dirty="0"/>
              <a:t>Transform your date </a:t>
            </a: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en-US" b="1" dirty="0"/>
              <a:t>Power View / MAP</a:t>
            </a:r>
          </a:p>
          <a:p>
            <a:pPr lvl="1">
              <a:lnSpc>
                <a:spcPct val="150000"/>
              </a:lnSpc>
              <a:spcBef>
                <a:spcPts val="600"/>
              </a:spcBef>
            </a:pPr>
            <a:r>
              <a:rPr lang="en-US" sz="1600" b="1" dirty="0"/>
              <a:t>Create visualizations 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endParaRPr lang="en-US" sz="1400" b="1" dirty="0"/>
          </a:p>
          <a:p>
            <a:pPr lvl="2">
              <a:lnSpc>
                <a:spcPct val="100000"/>
              </a:lnSpc>
              <a:spcBef>
                <a:spcPts val="600"/>
              </a:spcBef>
            </a:pPr>
            <a:endParaRPr lang="en-US" sz="1400" b="1" dirty="0"/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endParaRPr lang="en-US" sz="1400" b="1" dirty="0"/>
          </a:p>
        </p:txBody>
      </p:sp>
      <p:pic>
        <p:nvPicPr>
          <p:cNvPr id="20" name="Picture 19" descr="A picture containing logo&#10;&#10;Description automatically generated">
            <a:extLst>
              <a:ext uri="{FF2B5EF4-FFF2-40B4-BE49-F238E27FC236}">
                <a16:creationId xmlns:a16="http://schemas.microsoft.com/office/drawing/2014/main" id="{B7CB8300-FC61-42E7-8E43-645553079E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7227" y="650774"/>
            <a:ext cx="2133600" cy="2133600"/>
          </a:xfrm>
          <a:prstGeom prst="rect">
            <a:avLst/>
          </a:prstGeom>
        </p:spPr>
      </p:pic>
      <p:sp>
        <p:nvSpPr>
          <p:cNvPr id="18" name="Rectangle 17">
            <a:hlinkClick r:id="rId4"/>
            <a:extLst>
              <a:ext uri="{FF2B5EF4-FFF2-40B4-BE49-F238E27FC236}">
                <a16:creationId xmlns:a16="http://schemas.microsoft.com/office/drawing/2014/main" id="{0ADE0053-DE09-4A09-A556-2B6EAF0569C7}"/>
              </a:ext>
            </a:extLst>
          </p:cNvPr>
          <p:cNvSpPr/>
          <p:nvPr/>
        </p:nvSpPr>
        <p:spPr>
          <a:xfrm>
            <a:off x="8851556" y="2349053"/>
            <a:ext cx="26649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hlinkClick r:id="rId4"/>
              </a:rPr>
              <a:t>Learn about </a:t>
            </a:r>
            <a:r>
              <a:rPr lang="en-US" dirty="0" err="1">
                <a:hlinkClick r:id="rId4"/>
              </a:rPr>
              <a:t>PowerB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945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3709F5-F8DA-413C-B9AD-584F0FD65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318E6B-7C97-4D41-B832-B39EC765FF8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Different aspects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EF3E527-3A15-4CE8-B85E-BF3D7D0F10BC}"/>
              </a:ext>
            </a:extLst>
          </p:cNvPr>
          <p:cNvSpPr txBox="1">
            <a:spLocks/>
          </p:cNvSpPr>
          <p:nvPr/>
        </p:nvSpPr>
        <p:spPr>
          <a:xfrm>
            <a:off x="381000" y="2087122"/>
            <a:ext cx="11136086" cy="4662815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  <a:spcBef>
                <a:spcPts val="60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b="1" dirty="0"/>
              <a:t>   Understand the data &amp; model</a:t>
            </a:r>
          </a:p>
          <a:p>
            <a:pPr>
              <a:lnSpc>
                <a:spcPct val="200000"/>
              </a:lnSpc>
              <a:spcBef>
                <a:spcPts val="60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b="1" dirty="0"/>
              <a:t>   Insights? Use Case? (What? Who? Actions?)</a:t>
            </a:r>
          </a:p>
          <a:p>
            <a:pPr>
              <a:lnSpc>
                <a:spcPct val="200000"/>
              </a:lnSpc>
              <a:spcBef>
                <a:spcPts val="60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b="1" dirty="0"/>
              <a:t>   Best visualization to present the data</a:t>
            </a:r>
          </a:p>
          <a:p>
            <a:pPr>
              <a:lnSpc>
                <a:spcPct val="200000"/>
              </a:lnSpc>
              <a:spcBef>
                <a:spcPts val="60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b="1" dirty="0"/>
              <a:t>   User Friendly </a:t>
            </a:r>
          </a:p>
          <a:p>
            <a:pPr>
              <a:lnSpc>
                <a:spcPct val="200000"/>
              </a:lnSpc>
              <a:spcBef>
                <a:spcPts val="60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b="1" dirty="0"/>
              <a:t>   Look &amp; Feel</a:t>
            </a:r>
          </a:p>
          <a:p>
            <a:pPr>
              <a:lnSpc>
                <a:spcPct val="200000"/>
              </a:lnSpc>
              <a:spcBef>
                <a:spcPts val="60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b="1" dirty="0"/>
              <a:t>   Extra: Visualize the data model </a:t>
            </a:r>
          </a:p>
          <a:p>
            <a:pPr lvl="2">
              <a:lnSpc>
                <a:spcPct val="100000"/>
              </a:lnSpc>
              <a:spcBef>
                <a:spcPts val="600"/>
              </a:spcBef>
            </a:pPr>
            <a:endParaRPr lang="en-US" sz="1400" b="1" dirty="0"/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endParaRPr lang="en-US" sz="1400" b="1" dirty="0"/>
          </a:p>
        </p:txBody>
      </p:sp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36440F0-16DC-4C60-B193-FDEB5CD7A5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5374" y="3527378"/>
            <a:ext cx="4508702" cy="2712783"/>
          </a:xfrm>
          <a:prstGeom prst="rect">
            <a:avLst/>
          </a:prstGeom>
        </p:spPr>
      </p:pic>
      <p:pic>
        <p:nvPicPr>
          <p:cNvPr id="10" name="Picture 9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2ECF8E60-AEF4-406D-83A7-80452DB0E0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265" y="719925"/>
            <a:ext cx="3468920" cy="248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8266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3709F5-F8DA-413C-B9AD-584F0FD65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318E6B-7C97-4D41-B832-B39EC765FF8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Visualize the data model </a:t>
            </a:r>
          </a:p>
        </p:txBody>
      </p:sp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43C48629-1538-43FA-89C0-2744352597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3737" y="1252280"/>
            <a:ext cx="6557263" cy="3772672"/>
          </a:xfrm>
          <a:prstGeom prst="rect">
            <a:avLst/>
          </a:prstGeom>
        </p:spPr>
      </p:pic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4610C297-7505-4600-96D7-EDD4FBA39C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201" y="3493059"/>
            <a:ext cx="5170799" cy="318558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E96F42A-875C-42DE-902F-D855C1E08E6A}"/>
              </a:ext>
            </a:extLst>
          </p:cNvPr>
          <p:cNvSpPr txBox="1"/>
          <p:nvPr/>
        </p:nvSpPr>
        <p:spPr>
          <a:xfrm>
            <a:off x="381000" y="1882362"/>
            <a:ext cx="3984551" cy="16106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Relational data model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rimary and Foreign Key’s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Relation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ools </a:t>
            </a:r>
            <a:r>
              <a:rPr lang="en-US" dirty="0" err="1"/>
              <a:t>eg</a:t>
            </a:r>
            <a:r>
              <a:rPr lang="en-US" dirty="0"/>
              <a:t>: Draw.io or </a:t>
            </a:r>
            <a:r>
              <a:rPr lang="en-US" dirty="0" err="1"/>
              <a:t>Grafity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692946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86F1555-68B0-49DE-A288-5BAC462A6FB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1000" y="1412875"/>
            <a:ext cx="11430000" cy="304699"/>
          </a:xfrm>
        </p:spPr>
        <p:txBody>
          <a:bodyPr/>
          <a:lstStyle/>
          <a:p>
            <a:r>
              <a:rPr lang="en-US" dirty="0"/>
              <a:t>FOTG Data set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A1214A9A-9073-4D3B-938F-B7ED3A1C5323}"/>
              </a:ext>
            </a:extLst>
          </p:cNvPr>
          <p:cNvSpPr txBox="1">
            <a:spLocks/>
          </p:cNvSpPr>
          <p:nvPr/>
        </p:nvSpPr>
        <p:spPr>
          <a:xfrm>
            <a:off x="381000" y="2087122"/>
            <a:ext cx="11136086" cy="5343001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200" b="1" dirty="0"/>
              <a:t>Customers</a:t>
            </a:r>
            <a:endParaRPr lang="en-US" sz="1200" dirty="0"/>
          </a:p>
          <a:p>
            <a:pPr lvl="1"/>
            <a:r>
              <a:rPr lang="en-US" sz="1200" dirty="0"/>
              <a:t>Customer ID - PK</a:t>
            </a:r>
          </a:p>
          <a:p>
            <a:pPr lvl="0"/>
            <a:r>
              <a:rPr lang="en-US" sz="1200" b="1" dirty="0"/>
              <a:t>Customer allergy</a:t>
            </a:r>
            <a:endParaRPr lang="en-US" sz="1200" dirty="0"/>
          </a:p>
          <a:p>
            <a:pPr lvl="1"/>
            <a:r>
              <a:rPr lang="en-US" sz="1200" dirty="0"/>
              <a:t>Customer ID - PK</a:t>
            </a:r>
          </a:p>
          <a:p>
            <a:pPr lvl="1"/>
            <a:r>
              <a:rPr lang="en-US" sz="1200" dirty="0"/>
              <a:t>Allergy ID - PK</a:t>
            </a:r>
          </a:p>
          <a:p>
            <a:pPr lvl="0"/>
            <a:r>
              <a:rPr lang="en-US" sz="1200" b="1" dirty="0"/>
              <a:t>Allergies</a:t>
            </a:r>
            <a:endParaRPr lang="en-US" sz="1200" dirty="0"/>
          </a:p>
          <a:p>
            <a:pPr lvl="1"/>
            <a:r>
              <a:rPr lang="en-US" sz="1200" dirty="0"/>
              <a:t>Allergies ID - PK</a:t>
            </a:r>
          </a:p>
          <a:p>
            <a:pPr lvl="0"/>
            <a:r>
              <a:rPr lang="en-US" sz="1200" b="1" dirty="0"/>
              <a:t>Order:  </a:t>
            </a:r>
            <a:r>
              <a:rPr lang="en-US" sz="1200" dirty="0"/>
              <a:t>One order can exist of multiple Order Items (</a:t>
            </a:r>
            <a:r>
              <a:rPr lang="en-US" sz="1200" dirty="0" err="1"/>
              <a:t>Eg</a:t>
            </a:r>
            <a:r>
              <a:rPr lang="en-US" sz="1200" dirty="0"/>
              <a:t> ordering 2 Margherita pizza’s and 1 garlic bread) </a:t>
            </a:r>
          </a:p>
          <a:p>
            <a:pPr lvl="1"/>
            <a:r>
              <a:rPr lang="en-US" sz="1200" dirty="0"/>
              <a:t>Order ID – PK</a:t>
            </a:r>
          </a:p>
          <a:p>
            <a:pPr lvl="1"/>
            <a:r>
              <a:rPr lang="en-US" sz="1200" dirty="0"/>
              <a:t>Customer ID – FK</a:t>
            </a:r>
          </a:p>
          <a:p>
            <a:pPr lvl="1"/>
            <a:r>
              <a:rPr lang="en-US" sz="1200" dirty="0"/>
              <a:t>Restaurant ID – FK</a:t>
            </a:r>
          </a:p>
          <a:p>
            <a:pPr lvl="0"/>
            <a:r>
              <a:rPr lang="en-US" sz="1200" b="1" dirty="0"/>
              <a:t>Order Item: </a:t>
            </a:r>
            <a:r>
              <a:rPr lang="en-US" sz="1200" dirty="0"/>
              <a:t>The individual items per order, in example above 2 times the Margherita pizza and 1 time the garlic bread)</a:t>
            </a:r>
          </a:p>
          <a:p>
            <a:pPr lvl="1"/>
            <a:r>
              <a:rPr lang="en-US" sz="1200" dirty="0"/>
              <a:t>Order Item ID – PK</a:t>
            </a:r>
          </a:p>
          <a:p>
            <a:pPr lvl="1"/>
            <a:r>
              <a:rPr lang="en-US" sz="1200" dirty="0"/>
              <a:t>Order ID – FK</a:t>
            </a:r>
          </a:p>
          <a:p>
            <a:pPr lvl="1"/>
            <a:r>
              <a:rPr lang="en-US" sz="1200" dirty="0"/>
              <a:t>Order Table ID – FK</a:t>
            </a:r>
          </a:p>
          <a:p>
            <a:pPr lvl="0"/>
            <a:r>
              <a:rPr lang="en-US" sz="1200" b="1" dirty="0"/>
              <a:t>Order Table:</a:t>
            </a:r>
            <a:r>
              <a:rPr lang="en-US" sz="1200" dirty="0"/>
              <a:t> The items that can be ordered (menu card), unique list of all the items per restaurant, including the name of the item and the price</a:t>
            </a:r>
          </a:p>
          <a:p>
            <a:pPr lvl="1"/>
            <a:r>
              <a:rPr lang="en-US" sz="1200" dirty="0"/>
              <a:t>Order Table ID - PK</a:t>
            </a:r>
          </a:p>
          <a:p>
            <a:pPr lvl="0"/>
            <a:r>
              <a:rPr lang="en-US" sz="1200" b="1" dirty="0"/>
              <a:t>Restaurant</a:t>
            </a:r>
            <a:r>
              <a:rPr lang="en-US" sz="1200" dirty="0"/>
              <a:t>:</a:t>
            </a:r>
          </a:p>
          <a:p>
            <a:pPr lvl="1"/>
            <a:r>
              <a:rPr lang="en-US" sz="1200" dirty="0"/>
              <a:t>Restaurant  ID - PK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endParaRPr lang="en-US" sz="1400" b="1" dirty="0"/>
          </a:p>
          <a:p>
            <a:pPr lvl="2">
              <a:lnSpc>
                <a:spcPct val="100000"/>
              </a:lnSpc>
              <a:spcBef>
                <a:spcPts val="600"/>
              </a:spcBef>
            </a:pPr>
            <a:endParaRPr lang="en-US" sz="1400" b="1" dirty="0"/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9438587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86F1555-68B0-49DE-A288-5BAC462A6FB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1000" y="1412875"/>
            <a:ext cx="11430000" cy="304699"/>
          </a:xfrm>
        </p:spPr>
        <p:txBody>
          <a:bodyPr/>
          <a:lstStyle/>
          <a:p>
            <a:r>
              <a:rPr lang="en-US" dirty="0"/>
              <a:t>Online available Corona datasets 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A1214A9A-9073-4D3B-938F-B7ED3A1C5323}"/>
              </a:ext>
            </a:extLst>
          </p:cNvPr>
          <p:cNvSpPr txBox="1">
            <a:spLocks/>
          </p:cNvSpPr>
          <p:nvPr/>
        </p:nvSpPr>
        <p:spPr>
          <a:xfrm>
            <a:off x="381000" y="2087122"/>
            <a:ext cx="11136086" cy="1938992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>
                <a:hlinkClick r:id="rId3"/>
              </a:rPr>
              <a:t>https://ourworldindata.org/coronavirus-source-data</a:t>
            </a:r>
            <a:endParaRPr lang="en-US" dirty="0"/>
          </a:p>
          <a:p>
            <a:pPr marL="0" lvl="0" indent="0">
              <a:buNone/>
            </a:pPr>
            <a:endParaRPr lang="en-US" dirty="0"/>
          </a:p>
          <a:p>
            <a:pPr lvl="0"/>
            <a:r>
              <a:rPr lang="en-US" dirty="0"/>
              <a:t>Download excel or csv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endParaRPr lang="en-US" sz="1400" b="1" dirty="0"/>
          </a:p>
          <a:p>
            <a:pPr lvl="2">
              <a:lnSpc>
                <a:spcPct val="100000"/>
              </a:lnSpc>
              <a:spcBef>
                <a:spcPts val="600"/>
              </a:spcBef>
            </a:pPr>
            <a:endParaRPr lang="en-US" sz="1400" b="1" dirty="0"/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endParaRPr lang="en-US" sz="140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15629C0-0B7D-435A-989B-6B38CB53A1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5685" y="3608173"/>
            <a:ext cx="8525843" cy="2708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519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ccenture Core Brand April 2018">
      <a:dk1>
        <a:srgbClr val="000000"/>
      </a:dk1>
      <a:lt1>
        <a:srgbClr val="FFFFFF"/>
      </a:lt1>
      <a:dk2>
        <a:srgbClr val="969696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5A5A5A"/>
      </a:hlink>
      <a:folHlink>
        <a:srgbClr val="969696"/>
      </a:folHlink>
    </a:clrScheme>
    <a:fontScheme name="Accentur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NEW_Template16x9_Jan 2019.pptx" id="{DA118784-8E18-4EF8-829F-8848A8C663A9}" vid="{231C6410-7B65-4166-BF18-832999165FE0}"/>
    </a:ext>
  </a:extLst>
</a:theme>
</file>

<file path=ppt/theme/theme2.xml><?xml version="1.0" encoding="utf-8"?>
<a:theme xmlns:a="http://schemas.openxmlformats.org/drawingml/2006/main" name="CA00000_Tech_Engl">
  <a:themeElements>
    <a:clrScheme name="Custom 14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00FF00"/>
      </a:accent1>
      <a:accent2>
        <a:srgbClr val="00D700"/>
      </a:accent2>
      <a:accent3>
        <a:srgbClr val="00530A"/>
      </a:accent3>
      <a:accent4>
        <a:srgbClr val="BEBEBE"/>
      </a:accent4>
      <a:accent5>
        <a:srgbClr val="969696"/>
      </a:accent5>
      <a:accent6>
        <a:srgbClr val="5A5A5A"/>
      </a:accent6>
      <a:hlink>
        <a:srgbClr val="00530A"/>
      </a:hlink>
      <a:folHlink>
        <a:srgbClr val="00530A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lIns="54000" tIns="54000" rIns="54000" bIns="54000"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CSB00000_Tech_Engl_Graphik.potx" id="{8DFA4F4D-7A9E-489B-90F7-627EB21BC004}" vid="{548B896E-92E4-4DF3-B41A-DC08AD84EA9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89130AEA297F459C8185A1F6E551D8" ma:contentTypeVersion="2" ma:contentTypeDescription="Create a new document." ma:contentTypeScope="" ma:versionID="90c399e99509ff6b0743d82697dc22f9">
  <xsd:schema xmlns:xsd="http://www.w3.org/2001/XMLSchema" xmlns:xs="http://www.w3.org/2001/XMLSchema" xmlns:p="http://schemas.microsoft.com/office/2006/metadata/properties" xmlns:ns2="8d9c2049-11b1-4c1a-b3e3-7321e50a93ae" targetNamespace="http://schemas.microsoft.com/office/2006/metadata/properties" ma:root="true" ma:fieldsID="2fbc4eb87ee356f2213a2cf9676f13ef" ns2:_="">
    <xsd:import namespace="8d9c2049-11b1-4c1a-b3e3-7321e50a93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9c2049-11b1-4c1a-b3e3-7321e50a93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2A574AD-FF74-4139-BAE5-EF6A7B9C5F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9c2049-11b1-4c1a-b3e3-7321e50a93a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34A896-C86A-4CB6-8FC4-3955733F83A0}">
  <ds:schemaRefs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purl.org/dc/terms/"/>
    <ds:schemaRef ds:uri="8d9c2049-11b1-4c1a-b3e3-7321e50a93ae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E12237B-03BA-4F13-97F6-CF37E0AB7C4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NEW_Template16x9_Jan 2019</Template>
  <TotalTime>1398</TotalTime>
  <Words>278</Words>
  <Application>Microsoft Office PowerPoint</Application>
  <PresentationFormat>Widescreen</PresentationFormat>
  <Paragraphs>59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Arial Black</vt:lpstr>
      <vt:lpstr>Calibri</vt:lpstr>
      <vt:lpstr>Graphik</vt:lpstr>
      <vt:lpstr>Graphik Black</vt:lpstr>
      <vt:lpstr>Wingdings</vt:lpstr>
      <vt:lpstr>Office Theme</vt:lpstr>
      <vt:lpstr>CA00000_Tech_Engl</vt:lpstr>
      <vt:lpstr>think-cell Slide</vt:lpstr>
      <vt:lpstr>Data &amp; ai Power BI use case</vt:lpstr>
      <vt:lpstr>USE CASE</vt:lpstr>
      <vt:lpstr>USE CASE</vt:lpstr>
      <vt:lpstr>USE CASE</vt:lpstr>
      <vt:lpstr>DATA </vt:lpstr>
      <vt:lpstr>DATA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 to edit headline</dc:title>
  <dc:creator>creative.services.presentations@accenture.com</dc:creator>
  <cp:lastModifiedBy>Peelaers, Kathleen</cp:lastModifiedBy>
  <cp:revision>105</cp:revision>
  <cp:lastPrinted>2019-05-01T01:54:28Z</cp:lastPrinted>
  <dcterms:created xsi:type="dcterms:W3CDTF">2019-05-01T01:07:19Z</dcterms:created>
  <dcterms:modified xsi:type="dcterms:W3CDTF">2020-10-12T08:3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rName">
    <vt:lpwstr>pmcguire</vt:lpwstr>
  </property>
  <property fmtid="{D5CDD505-2E9C-101B-9397-08002B2CF9AE}" pid="3" name="ComputerName">
    <vt:lpwstr>DLO0780</vt:lpwstr>
  </property>
  <property fmtid="{D5CDD505-2E9C-101B-9397-08002B2CF9AE}" pid="4" name="ContentTypeId">
    <vt:lpwstr>0x0101007189130AEA297F459C8185A1F6E551D8</vt:lpwstr>
  </property>
</Properties>
</file>